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9" r:id="rId1"/>
    <p:sldMasterId id="2147483673" r:id="rId2"/>
    <p:sldMasterId id="2147483696" r:id="rId3"/>
    <p:sldMasterId id="2147483742" r:id="rId4"/>
  </p:sldMasterIdLst>
  <p:notesMasterIdLst>
    <p:notesMasterId r:id="rId13"/>
  </p:notesMasterIdLst>
  <p:handoutMasterIdLst>
    <p:handoutMasterId r:id="rId14"/>
  </p:handoutMasterIdLst>
  <p:sldIdLst>
    <p:sldId id="261" r:id="rId5"/>
    <p:sldId id="269" r:id="rId6"/>
    <p:sldId id="364" r:id="rId7"/>
    <p:sldId id="361" r:id="rId8"/>
    <p:sldId id="363" r:id="rId9"/>
    <p:sldId id="343" r:id="rId10"/>
    <p:sldId id="349" r:id="rId11"/>
    <p:sldId id="273" r:id="rId12"/>
  </p:sldIdLst>
  <p:sldSz cx="9144000" cy="6858000" type="screen4x3"/>
  <p:notesSz cx="6858000" cy="9144000"/>
  <p:defaultTextStyle>
    <a:defPPr>
      <a:defRPr lang="en-GB"/>
    </a:defPPr>
    <a:lvl1pPr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bg1"/>
        </a:solidFill>
        <a:latin typeface="Arial" charset="0"/>
        <a:ea typeface="ＭＳ Ｐゴシック" charset="0"/>
        <a:cs typeface="Microsoft YaHei" charset="0"/>
      </a:defRPr>
    </a:lvl1pPr>
    <a:lvl2pPr marL="742950" indent="-28575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bg1"/>
        </a:solidFill>
        <a:latin typeface="Arial" charset="0"/>
        <a:ea typeface="ＭＳ Ｐゴシック" charset="0"/>
        <a:cs typeface="Microsoft YaHei" charset="0"/>
      </a:defRPr>
    </a:lvl2pPr>
    <a:lvl3pPr marL="1143000" indent="-22860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bg1"/>
        </a:solidFill>
        <a:latin typeface="Arial" charset="0"/>
        <a:ea typeface="ＭＳ Ｐゴシック" charset="0"/>
        <a:cs typeface="Microsoft YaHei" charset="0"/>
      </a:defRPr>
    </a:lvl3pPr>
    <a:lvl4pPr marL="1600200" indent="-22860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bg1"/>
        </a:solidFill>
        <a:latin typeface="Arial" charset="0"/>
        <a:ea typeface="ＭＳ Ｐゴシック" charset="0"/>
        <a:cs typeface="Microsoft YaHei" charset="0"/>
      </a:defRPr>
    </a:lvl4pPr>
    <a:lvl5pPr marL="2057400" indent="-22860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bg1"/>
        </a:solidFill>
        <a:latin typeface="Arial" charset="0"/>
        <a:ea typeface="ＭＳ Ｐゴシック" charset="0"/>
        <a:cs typeface="Microsoft YaHei" charset="0"/>
      </a:defRPr>
    </a:lvl5pPr>
    <a:lvl6pPr marL="2286000" algn="l" defTabSz="457200" rtl="0" eaLnBrk="1" latinLnBrk="0" hangingPunct="1">
      <a:defRPr kern="1200">
        <a:solidFill>
          <a:schemeClr val="bg1"/>
        </a:solidFill>
        <a:latin typeface="Arial" charset="0"/>
        <a:ea typeface="ＭＳ Ｐゴシック" charset="0"/>
        <a:cs typeface="Microsoft YaHei" charset="0"/>
      </a:defRPr>
    </a:lvl6pPr>
    <a:lvl7pPr marL="2743200" algn="l" defTabSz="457200" rtl="0" eaLnBrk="1" latinLnBrk="0" hangingPunct="1">
      <a:defRPr kern="1200">
        <a:solidFill>
          <a:schemeClr val="bg1"/>
        </a:solidFill>
        <a:latin typeface="Arial" charset="0"/>
        <a:ea typeface="ＭＳ Ｐゴシック" charset="0"/>
        <a:cs typeface="Microsoft YaHei" charset="0"/>
      </a:defRPr>
    </a:lvl7pPr>
    <a:lvl8pPr marL="3200400" algn="l" defTabSz="457200" rtl="0" eaLnBrk="1" latinLnBrk="0" hangingPunct="1">
      <a:defRPr kern="1200">
        <a:solidFill>
          <a:schemeClr val="bg1"/>
        </a:solidFill>
        <a:latin typeface="Arial" charset="0"/>
        <a:ea typeface="ＭＳ Ｐゴシック" charset="0"/>
        <a:cs typeface="Microsoft YaHei" charset="0"/>
      </a:defRPr>
    </a:lvl8pPr>
    <a:lvl9pPr marL="3657600" algn="l" defTabSz="457200" rtl="0" eaLnBrk="1" latinLnBrk="0" hangingPunct="1">
      <a:defRPr kern="1200">
        <a:solidFill>
          <a:schemeClr val="bg1"/>
        </a:solidFill>
        <a:latin typeface="Arial" charset="0"/>
        <a:ea typeface="ＭＳ Ｐゴシック" charset="0"/>
        <a:cs typeface="Microsoft YaHei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4" clrMode="bw" frameSlides="1"/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86"/>
    <p:restoredTop sz="81754"/>
  </p:normalViewPr>
  <p:slideViewPr>
    <p:cSldViewPr>
      <p:cViewPr varScale="1">
        <p:scale>
          <a:sx n="99" d="100"/>
          <a:sy n="99" d="100"/>
        </p:scale>
        <p:origin x="2032" y="184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0F49E0-F732-594C-AF03-556FB9990630}" type="datetimeFigureOut">
              <a:rPr lang="en-US" smtClean="0"/>
              <a:t>6/2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E84CAD-5CAF-C443-8836-2CB3179DA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3269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AutoShape 1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360" cap="sq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4" name="Rectangle 2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106488" y="812800"/>
            <a:ext cx="5341937" cy="400526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sp>
      <p:sp>
        <p:nvSpPr>
          <p:cNvPr id="3075" name="Rectangle 3"/>
          <p:cNvSpPr>
            <a:spLocks noGrp="1" noChangeArrowheads="1"/>
          </p:cNvSpPr>
          <p:nvPr>
            <p:ph type="body"/>
          </p:nvPr>
        </p:nvSpPr>
        <p:spPr bwMode="auto">
          <a:xfrm>
            <a:off x="755650" y="5078413"/>
            <a:ext cx="6045200" cy="480853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hdr"/>
          </p:nvPr>
        </p:nvSpPr>
        <p:spPr bwMode="auto">
          <a:xfrm>
            <a:off x="0" y="0"/>
            <a:ext cx="3278188" cy="5318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5000"/>
              </a:lnSpc>
              <a:buClr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charset="0"/>
                <a:cs typeface="Lucida Sans Unicode" charset="0"/>
              </a:defRPr>
            </a:lvl1pPr>
          </a:lstStyle>
          <a:p>
            <a:endParaRPr lang="en-GB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dt"/>
          </p:nvPr>
        </p:nvSpPr>
        <p:spPr bwMode="auto">
          <a:xfrm>
            <a:off x="4278313" y="0"/>
            <a:ext cx="3278187" cy="5318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95000"/>
              </a:lnSpc>
              <a:buClr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charset="0"/>
                <a:cs typeface="Lucida Sans Unicode" charset="0"/>
              </a:defRPr>
            </a:lvl1pPr>
          </a:lstStyle>
          <a:p>
            <a:endParaRPr lang="en-GB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0" y="10156825"/>
            <a:ext cx="3278188" cy="5318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95000"/>
              </a:lnSpc>
              <a:buClr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charset="0"/>
                <a:cs typeface="Lucida Sans Unicode" charset="0"/>
              </a:defRPr>
            </a:lvl1pPr>
          </a:lstStyle>
          <a:p>
            <a:endParaRPr lang="en-GB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4278313" y="10156825"/>
            <a:ext cx="3278187" cy="5318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95000"/>
              </a:lnSpc>
              <a:buClr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charset="0"/>
                <a:cs typeface="Lucida Sans Unicode" charset="0"/>
              </a:defRPr>
            </a:lvl1pPr>
          </a:lstStyle>
          <a:p>
            <a:fld id="{8DA50B40-B266-FF42-BF7C-38624821635A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21647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4588" y="1250950"/>
            <a:ext cx="4505325" cy="3378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D12170-B4D9-4504-9406-AC0F9EF8E6E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6205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uotes to match data / impact</a:t>
            </a:r>
          </a:p>
          <a:p>
            <a:r>
              <a:rPr lang="en-US" dirty="0"/>
              <a:t>Reorde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24DA73-AE27-4433-BD53-3E1DB61918F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1164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fld id="{8DA50B40-B266-FF42-BF7C-38624821635A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97892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24DA73-AE27-4433-BD53-3E1DB61918F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24744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B4F636E-7700-CE4D-968D-5D3AEC1D1292}" type="slidenum">
              <a:rPr lang="en-GB"/>
              <a:pPr/>
              <a:t>8</a:t>
            </a:fld>
            <a:endParaRPr lang="en-GB"/>
          </a:p>
        </p:txBody>
      </p:sp>
      <p:sp>
        <p:nvSpPr>
          <p:cNvPr id="39937" name="Text Box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06488" y="812800"/>
            <a:ext cx="5345112" cy="400843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sp>
      <p:sp>
        <p:nvSpPr>
          <p:cNvPr id="39938" name="Text Box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55650" y="5078413"/>
            <a:ext cx="6048375" cy="4811712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126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fld id="{82525C12-3CF4-A543-AA2B-69865534A022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92868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fld id="{C3CCBC18-9EDA-B647-B147-6474E55D08D9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02024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7813" y="274638"/>
            <a:ext cx="2055812" cy="5848350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8213" cy="584835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fld id="{6BA2AB82-2B7E-AB41-A420-656C7CE4626E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6913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W_Repowering Lond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F2FAB7D-2137-4AC3-8907-FA7A41FFD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90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F2FAB7D-2137-4AC3-8907-FA7A41FFD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90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0AAF0F2-F769-4D54-80C9-05A8F4455B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95" t="6498" r="3082" b="14577"/>
          <a:stretch/>
        </p:blipFill>
        <p:spPr>
          <a:xfrm>
            <a:off x="0" y="1398588"/>
            <a:ext cx="9144000" cy="545941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446072" y="1398588"/>
            <a:ext cx="7776755" cy="1047714"/>
          </a:xfrm>
        </p:spPr>
        <p:txBody>
          <a:bodyPr lIns="0" tIns="7200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600" baseline="0">
                <a:solidFill>
                  <a:schemeClr val="tx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600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 dirty="0"/>
              <a:t>Title</a:t>
            </a:r>
          </a:p>
          <a:p>
            <a:pPr lvl="1"/>
            <a:r>
              <a:rPr lang="en-GB" dirty="0"/>
              <a:t>Subtitle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/>
          </p:nvPr>
        </p:nvSpPr>
        <p:spPr>
          <a:xfrm>
            <a:off x="446073" y="6050778"/>
            <a:ext cx="3267166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accent5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9E713B-EF81-4BFF-BC8E-219CFBE34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3789" b="100000" l="0" r="100000">
                        <a14:foregroundMark x1="65229" y1="27617" x2="65229" y2="27617"/>
                        <a14:foregroundMark x1="58390" y1="19268" x2="59758" y2="18240"/>
                        <a14:foregroundMark x1="51078" y1="15928" x2="52604" y2="12396"/>
                        <a14:foregroundMark x1="43398" y1="12845" x2="43556" y2="9056"/>
                        <a14:foregroundMark x1="36034" y1="12845" x2="36034" y2="9056"/>
                        <a14:foregroundMark x1="28196" y1="16185" x2="25250" y2="12588"/>
                        <a14:foregroundMark x1="20673" y1="21580" x2="18622" y2="17405"/>
                        <a14:foregroundMark x1="15203" y1="28452" x2="11941" y2="24920"/>
                        <a14:foregroundMark x1="12783" y1="36802" x2="7680" y2="34746"/>
                        <a14:foregroundMark x1="8680" y1="45536" x2="5103" y2="45536"/>
                        <a14:foregroundMark x1="5471" y1="56198" x2="10258" y2="55748"/>
                        <a14:foregroundMark x1="8522" y1="67437" x2="11941" y2="65768"/>
                        <a14:foregroundMark x1="12625" y1="76622" x2="14834" y2="74310"/>
                        <a14:foregroundMark x1="18096" y1="86191" x2="22041" y2="80796"/>
                        <a14:foregroundMark x1="26302" y1="89981" x2="27670" y2="86191"/>
                        <a14:foregroundMark x1="35350" y1="93128" x2="34982" y2="89981"/>
                        <a14:foregroundMark x1="46449" y1="93513" x2="45082" y2="89146"/>
                        <a14:foregroundMark x1="53972" y1="88953" x2="52236" y2="85164"/>
                        <a14:foregroundMark x1="62178" y1="82659" x2="59442" y2="80154"/>
                        <a14:foregroundMark x1="64019" y1="72640" x2="67280" y2="75594"/>
                        <a14:foregroundMark x1="19306" y1="45536" x2="19148" y2="43288"/>
                        <a14:foregroundMark x1="26986" y1="44509" x2="26986" y2="43031"/>
                        <a14:foregroundMark x1="34982" y1="41618" x2="36191" y2="41618"/>
                        <a14:foregroundMark x1="41925" y1="42325" x2="41767" y2="44380"/>
                        <a14:foregroundMark x1="62283" y1="42710" x2="62546" y2="44509"/>
                        <a14:foregroundMark x1="69805" y1="42068" x2="69753" y2="43545"/>
                        <a14:foregroundMark x1="77328" y1="42710" x2="77696" y2="44894"/>
                        <a14:foregroundMark x1="19726" y1="62171" x2="21357" y2="62235"/>
                        <a14:foregroundMark x1="24093" y1="56904" x2="23724" y2="57868"/>
                        <a14:foregroundMark x1="31983" y1="54656" x2="32457" y2="55042"/>
                        <a14:foregroundMark x1="38874" y1="54207" x2="39821" y2="54078"/>
                        <a14:foregroundMark x1="47186" y1="54656" x2="46607" y2="55170"/>
                        <a14:foregroundMark x1="54655" y1="54143" x2="55024" y2="54849"/>
                        <a14:foregroundMark x1="82272" y1="42389" x2="83114" y2="43224"/>
                        <a14:foregroundMark x1="92215" y1="40976" x2="91110" y2="41490"/>
                        <a14:backgroundMark x1="36191" y1="43353" x2="36191" y2="43353"/>
                        <a14:backgroundMark x1="44713" y1="45279" x2="44292" y2="4386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8894" y="2"/>
            <a:ext cx="1249678" cy="1074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9496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E5374A-17C0-49FD-A430-56A30C45E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90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E5374A-17C0-49FD-A430-56A30C45E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90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62462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2DA1862-1894-4E3E-AEB2-9772C37660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90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2DA1862-1894-4E3E-AEB2-9772C3766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90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08324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5C5A0A-835B-4D1E-B8C8-DD3AF063FF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90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5C5A0A-835B-4D1E-B8C8-DD3AF063F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90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8273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31675944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118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5AAC35-B32B-4024-B563-1BF2E528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90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5AAC35-B32B-4024-B563-1BF2E528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90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8273143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435429" y="1883664"/>
            <a:ext cx="8273143" cy="444398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7837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118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8273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435429" y="1883664"/>
            <a:ext cx="8273143" cy="183794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435429" y="4005072"/>
            <a:ext cx="8273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435429" y="4489704"/>
            <a:ext cx="8273143" cy="183794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717833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687977" y="4681728"/>
            <a:ext cx="7776755" cy="1655572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Click to add section title</a:t>
            </a:r>
          </a:p>
          <a:p>
            <a:pPr lvl="1"/>
            <a:r>
              <a:rPr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687977" y="4114800"/>
            <a:ext cx="7776755" cy="566928"/>
          </a:xfrm>
        </p:spPr>
        <p:txBody>
          <a:bodyPr lIns="0" tIns="0" rIns="0" bIns="0" anchor="b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19276986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435429" y="1399032"/>
            <a:ext cx="3918857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4789715" y="1399032"/>
            <a:ext cx="3918857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248653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fld id="{DEA4779E-60CB-D74A-B72F-815809CE838F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23150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643BFC1-4F2E-427F-8CD0-149C8D3546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90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643BFC1-4F2E-427F-8CD0-149C8D3546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90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3918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9" y="1883664"/>
            <a:ext cx="3918857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789715" y="1399032"/>
            <a:ext cx="3918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4789715" y="1883664"/>
            <a:ext cx="3918857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436109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3918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789715" y="1399032"/>
            <a:ext cx="3918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41506096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orient="horz" pos="118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35429" y="1399032"/>
            <a:ext cx="3918857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4789715" y="1399032"/>
            <a:ext cx="3918857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435429" y="4005072"/>
            <a:ext cx="3918857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4789715" y="4005072"/>
            <a:ext cx="3918857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58820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35429" y="1883664"/>
            <a:ext cx="3918857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4789715" y="139903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4789715" y="1883664"/>
            <a:ext cx="3918857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435429" y="400507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435429" y="4489704"/>
            <a:ext cx="3918857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4789715" y="400507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4789715" y="4489704"/>
            <a:ext cx="3918857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113189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4789715" y="139903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435429" y="400507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4789715" y="400507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39215271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9" y="1399032"/>
            <a:ext cx="2464526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3339737" y="1399032"/>
            <a:ext cx="2464526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6244045" y="1399032"/>
            <a:ext cx="2464526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60672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9" y="1883664"/>
            <a:ext cx="2464526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3339737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3339737" y="1883664"/>
            <a:ext cx="2464526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6244045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6244045" y="1883664"/>
            <a:ext cx="2464526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1873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6" orient="horz" pos="118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3339737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6244045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33767258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6" orient="horz" pos="118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35429" y="1399032"/>
            <a:ext cx="2464526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3339737" y="1399032"/>
            <a:ext cx="2464526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6244045" y="1399032"/>
            <a:ext cx="2464526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435429" y="4005072"/>
            <a:ext cx="2464526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3339737" y="4005072"/>
            <a:ext cx="2464526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6244045" y="4005072"/>
            <a:ext cx="2464526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65210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35429" y="1883664"/>
            <a:ext cx="2464526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3339737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3339737" y="1883664"/>
            <a:ext cx="2464526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6244045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6244045" y="1883664"/>
            <a:ext cx="2464526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435429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435429" y="4489704"/>
            <a:ext cx="2464526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3339737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3339737" y="4489704"/>
            <a:ext cx="2464526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6244045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6244045" y="4489704"/>
            <a:ext cx="2464526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756848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fld id="{14DCFB9E-5A4F-384B-A6F4-9D0435DC2BE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30218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3339737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6244045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435429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3339737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6244045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218942166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9" y="1883664"/>
            <a:ext cx="2464526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3335383" y="1399032"/>
            <a:ext cx="5373188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3335383" y="1883664"/>
            <a:ext cx="5373188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21854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orient="horz" pos="118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CB79608-2BDC-4711-A45F-0A604593A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90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CB79608-2BDC-4711-A45F-0A604593A5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90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30" y="1399032"/>
            <a:ext cx="5373188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30" y="1883664"/>
            <a:ext cx="5373188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244045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244045" y="1883664"/>
            <a:ext cx="2464526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65601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orient="horz" pos="118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fld id="{DEA4779E-60CB-D74A-B72F-815809CE838F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72285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W_Repowering Lond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F2FAB7D-2137-4AC3-8907-FA7A41FFD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F2FAB7D-2137-4AC3-8907-FA7A41FFD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0AAF0F2-F769-4D54-80C9-05A8F4455B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95" t="6498" r="3082" b="14577"/>
          <a:stretch/>
        </p:blipFill>
        <p:spPr>
          <a:xfrm>
            <a:off x="0" y="1398588"/>
            <a:ext cx="9144000" cy="545941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446073" y="1398588"/>
            <a:ext cx="7776754" cy="1001419"/>
          </a:xfrm>
        </p:spPr>
        <p:txBody>
          <a:bodyPr lIns="0" tIns="7200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429" baseline="0">
                <a:solidFill>
                  <a:schemeClr val="tx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429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 dirty="0"/>
              <a:t>Title</a:t>
            </a:r>
          </a:p>
          <a:p>
            <a:pPr lvl="1"/>
            <a:r>
              <a:rPr lang="en-GB" dirty="0"/>
              <a:t>Subtitle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/>
          </p:nvPr>
        </p:nvSpPr>
        <p:spPr>
          <a:xfrm>
            <a:off x="446072" y="6050777"/>
            <a:ext cx="3267166" cy="263790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714" baseline="0">
                <a:solidFill>
                  <a:schemeClr val="accent5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9E713B-EF81-4BFF-BC8E-219CFBE34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3789" b="100000" l="0" r="100000">
                        <a14:foregroundMark x1="65229" y1="27617" x2="65229" y2="27617"/>
                        <a14:foregroundMark x1="58390" y1="19268" x2="59758" y2="18240"/>
                        <a14:foregroundMark x1="51078" y1="15928" x2="52604" y2="12396"/>
                        <a14:foregroundMark x1="43398" y1="12845" x2="43556" y2="9056"/>
                        <a14:foregroundMark x1="36034" y1="12845" x2="36034" y2="9056"/>
                        <a14:foregroundMark x1="28196" y1="16185" x2="25250" y2="12588"/>
                        <a14:foregroundMark x1="20673" y1="21580" x2="18622" y2="17405"/>
                        <a14:foregroundMark x1="15203" y1="28452" x2="11941" y2="24920"/>
                        <a14:foregroundMark x1="12783" y1="36802" x2="7680" y2="34746"/>
                        <a14:foregroundMark x1="8680" y1="45536" x2="5103" y2="45536"/>
                        <a14:foregroundMark x1="5471" y1="56198" x2="10258" y2="55748"/>
                        <a14:foregroundMark x1="8522" y1="67437" x2="11941" y2="65768"/>
                        <a14:foregroundMark x1="12625" y1="76622" x2="14834" y2="74310"/>
                        <a14:foregroundMark x1="18096" y1="86191" x2="22041" y2="80796"/>
                        <a14:foregroundMark x1="26302" y1="89981" x2="27670" y2="86191"/>
                        <a14:foregroundMark x1="35350" y1="93128" x2="34982" y2="89981"/>
                        <a14:foregroundMark x1="46449" y1="93513" x2="45082" y2="89146"/>
                        <a14:foregroundMark x1="53972" y1="88953" x2="52236" y2="85164"/>
                        <a14:foregroundMark x1="62178" y1="82659" x2="59442" y2="80154"/>
                        <a14:foregroundMark x1="64019" y1="72640" x2="67280" y2="75594"/>
                        <a14:foregroundMark x1="19306" y1="45536" x2="19148" y2="43288"/>
                        <a14:foregroundMark x1="26986" y1="44509" x2="26986" y2="43031"/>
                        <a14:foregroundMark x1="34982" y1="41618" x2="36191" y2="41618"/>
                        <a14:foregroundMark x1="41925" y1="42325" x2="41767" y2="44380"/>
                        <a14:foregroundMark x1="62283" y1="42710" x2="62546" y2="44509"/>
                        <a14:foregroundMark x1="69805" y1="42068" x2="69753" y2="43545"/>
                        <a14:foregroundMark x1="77328" y1="42710" x2="77696" y2="44894"/>
                        <a14:foregroundMark x1="19726" y1="62171" x2="21357" y2="62235"/>
                        <a14:foregroundMark x1="24093" y1="56904" x2="23724" y2="57868"/>
                        <a14:foregroundMark x1="31983" y1="54656" x2="32457" y2="55042"/>
                        <a14:foregroundMark x1="38874" y1="54207" x2="39821" y2="54078"/>
                        <a14:foregroundMark x1="47186" y1="54656" x2="46607" y2="55170"/>
                        <a14:foregroundMark x1="54655" y1="54143" x2="55024" y2="54849"/>
                        <a14:foregroundMark x1="82272" y1="42389" x2="83114" y2="43224"/>
                        <a14:foregroundMark x1="92215" y1="40976" x2="91110" y2="41490"/>
                        <a14:backgroundMark x1="36191" y1="43353" x2="36191" y2="43353"/>
                        <a14:backgroundMark x1="44713" y1="45279" x2="44292" y2="4386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8893" y="1"/>
            <a:ext cx="1249678" cy="1074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235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E5374A-17C0-49FD-A430-56A30C45E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3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E5374A-17C0-49FD-A430-56A30C45E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48587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2DA1862-1894-4E3E-AEB2-9772C37660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5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2DA1862-1894-4E3E-AEB2-9772C3766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16183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5C5A0A-835B-4D1E-B8C8-DD3AF063FF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5C5A0A-835B-4D1E-B8C8-DD3AF063F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8273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42582734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118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5AAC35-B32B-4024-B563-1BF2E528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5AAC35-B32B-4024-B563-1BF2E528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8273143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435429" y="1883664"/>
            <a:ext cx="8273143" cy="444398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08436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118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8273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435429" y="1883664"/>
            <a:ext cx="8273143" cy="183794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435429" y="4005072"/>
            <a:ext cx="8273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435429" y="4489704"/>
            <a:ext cx="8273143" cy="183794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325627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7013" cy="4522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600200"/>
            <a:ext cx="4037012" cy="4522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fld id="{EC822527-AFCD-9D43-A4D6-8C1C8E663E9B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39940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687977" y="4681728"/>
            <a:ext cx="7776754" cy="1655572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kern="0" baseline="0" dirty="0" smtClean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Click to add section title</a:t>
            </a:r>
          </a:p>
          <a:p>
            <a:pPr lvl="1"/>
            <a:r>
              <a:rPr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687977" y="4114800"/>
            <a:ext cx="7776754" cy="566928"/>
          </a:xfrm>
        </p:spPr>
        <p:txBody>
          <a:bodyPr lIns="0" tIns="0" rIns="0" bIns="0" anchor="b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15794993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435429" y="1399032"/>
            <a:ext cx="3918857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4789714" y="1399032"/>
            <a:ext cx="3918857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05632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643BFC1-4F2E-427F-8CD0-149C8D3546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643BFC1-4F2E-427F-8CD0-149C8D3546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3918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9" y="1883664"/>
            <a:ext cx="3918857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789714" y="1399032"/>
            <a:ext cx="3918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4789714" y="1883664"/>
            <a:ext cx="3918857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214126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3918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789714" y="1399032"/>
            <a:ext cx="3918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3095163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orient="horz" pos="118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35429" y="1399032"/>
            <a:ext cx="3918857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4789714" y="1399032"/>
            <a:ext cx="3918857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435429" y="4005072"/>
            <a:ext cx="3918857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4789714" y="4005072"/>
            <a:ext cx="3918857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9487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35429" y="1883664"/>
            <a:ext cx="3918857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4789714" y="139903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4789714" y="1883664"/>
            <a:ext cx="3918857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435429" y="400507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435429" y="4489704"/>
            <a:ext cx="3918857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4789714" y="400507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4789714" y="4489704"/>
            <a:ext cx="3918857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2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4789714" y="139903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435429" y="400507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4789714" y="400507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240807539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8" y="1399032"/>
            <a:ext cx="2464526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3339737" y="1399032"/>
            <a:ext cx="2464526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6244046" y="1399032"/>
            <a:ext cx="2464526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8398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8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8" y="1883664"/>
            <a:ext cx="2464526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3339737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3339737" y="1883664"/>
            <a:ext cx="2464526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6244046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6244046" y="1883664"/>
            <a:ext cx="2464526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65750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6" orient="horz" pos="118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8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3339737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6244046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1468074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6" orient="horz" pos="118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fld id="{07CE0F54-BB61-884F-98DA-49B8EE917BCF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38431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35428" y="1399032"/>
            <a:ext cx="2464526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3339737" y="1399032"/>
            <a:ext cx="2464526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6244046" y="1399032"/>
            <a:ext cx="2464526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435428" y="4005072"/>
            <a:ext cx="2464526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3339737" y="4005072"/>
            <a:ext cx="2464526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6244046" y="4005072"/>
            <a:ext cx="2464526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27599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35428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35428" y="1883664"/>
            <a:ext cx="2464526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3339737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3339737" y="1883664"/>
            <a:ext cx="2464526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6244046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6244046" y="1883664"/>
            <a:ext cx="2464526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435428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435428" y="4489704"/>
            <a:ext cx="2464526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3339737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3339737" y="4489704"/>
            <a:ext cx="2464526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6244046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6244046" y="4489704"/>
            <a:ext cx="2464526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52247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35428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3339737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6244046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435428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3339737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6244046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243012334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8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8" y="1883664"/>
            <a:ext cx="2464526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3335383" y="1399032"/>
            <a:ext cx="5373189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3335383" y="1883664"/>
            <a:ext cx="5373189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14287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orient="horz" pos="118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CB79608-2BDC-4711-A45F-0A604593A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CB79608-2BDC-4711-A45F-0A604593A5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8" y="1399032"/>
            <a:ext cx="5373189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8" y="1883664"/>
            <a:ext cx="5373189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244046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244046" y="1883664"/>
            <a:ext cx="2464526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96107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orient="horz" pos="118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fld id="{DEA4779E-60CB-D74A-B72F-815809CE838F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209975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W_Repowering Lond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F2FAB7D-2137-4AC3-8907-FA7A41FFD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F2FAB7D-2137-4AC3-8907-FA7A41FFD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0AAF0F2-F769-4D54-80C9-05A8F4455B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95" t="6498" r="3082" b="14577"/>
          <a:stretch/>
        </p:blipFill>
        <p:spPr>
          <a:xfrm>
            <a:off x="0" y="1398588"/>
            <a:ext cx="9144000" cy="545941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446073" y="1398588"/>
            <a:ext cx="7776754" cy="1001419"/>
          </a:xfrm>
        </p:spPr>
        <p:txBody>
          <a:bodyPr lIns="0" tIns="7200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429" baseline="0">
                <a:solidFill>
                  <a:schemeClr val="tx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429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 dirty="0"/>
              <a:t>Title</a:t>
            </a:r>
          </a:p>
          <a:p>
            <a:pPr lvl="1"/>
            <a:r>
              <a:rPr lang="en-GB" dirty="0"/>
              <a:t>Subtitle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/>
          </p:nvPr>
        </p:nvSpPr>
        <p:spPr>
          <a:xfrm>
            <a:off x="446072" y="6050777"/>
            <a:ext cx="3267166" cy="263790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714" baseline="0">
                <a:solidFill>
                  <a:schemeClr val="accent5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9E713B-EF81-4BFF-BC8E-219CFBE34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3789" b="100000" l="0" r="100000">
                        <a14:foregroundMark x1="65229" y1="27617" x2="65229" y2="27617"/>
                        <a14:foregroundMark x1="58390" y1="19268" x2="59758" y2="18240"/>
                        <a14:foregroundMark x1="51078" y1="15928" x2="52604" y2="12396"/>
                        <a14:foregroundMark x1="43398" y1="12845" x2="43556" y2="9056"/>
                        <a14:foregroundMark x1="36034" y1="12845" x2="36034" y2="9056"/>
                        <a14:foregroundMark x1="28196" y1="16185" x2="25250" y2="12588"/>
                        <a14:foregroundMark x1="20673" y1="21580" x2="18622" y2="17405"/>
                        <a14:foregroundMark x1="15203" y1="28452" x2="11941" y2="24920"/>
                        <a14:foregroundMark x1="12783" y1="36802" x2="7680" y2="34746"/>
                        <a14:foregroundMark x1="8680" y1="45536" x2="5103" y2="45536"/>
                        <a14:foregroundMark x1="5471" y1="56198" x2="10258" y2="55748"/>
                        <a14:foregroundMark x1="8522" y1="67437" x2="11941" y2="65768"/>
                        <a14:foregroundMark x1="12625" y1="76622" x2="14834" y2="74310"/>
                        <a14:foregroundMark x1="18096" y1="86191" x2="22041" y2="80796"/>
                        <a14:foregroundMark x1="26302" y1="89981" x2="27670" y2="86191"/>
                        <a14:foregroundMark x1="35350" y1="93128" x2="34982" y2="89981"/>
                        <a14:foregroundMark x1="46449" y1="93513" x2="45082" y2="89146"/>
                        <a14:foregroundMark x1="53972" y1="88953" x2="52236" y2="85164"/>
                        <a14:foregroundMark x1="62178" y1="82659" x2="59442" y2="80154"/>
                        <a14:foregroundMark x1="64019" y1="72640" x2="67280" y2="75594"/>
                        <a14:foregroundMark x1="19306" y1="45536" x2="19148" y2="43288"/>
                        <a14:foregroundMark x1="26986" y1="44509" x2="26986" y2="43031"/>
                        <a14:foregroundMark x1="34982" y1="41618" x2="36191" y2="41618"/>
                        <a14:foregroundMark x1="41925" y1="42325" x2="41767" y2="44380"/>
                        <a14:foregroundMark x1="62283" y1="42710" x2="62546" y2="44509"/>
                        <a14:foregroundMark x1="69805" y1="42068" x2="69753" y2="43545"/>
                        <a14:foregroundMark x1="77328" y1="42710" x2="77696" y2="44894"/>
                        <a14:foregroundMark x1="19726" y1="62171" x2="21357" y2="62235"/>
                        <a14:foregroundMark x1="24093" y1="56904" x2="23724" y2="57868"/>
                        <a14:foregroundMark x1="31983" y1="54656" x2="32457" y2="55042"/>
                        <a14:foregroundMark x1="38874" y1="54207" x2="39821" y2="54078"/>
                        <a14:foregroundMark x1="47186" y1="54656" x2="46607" y2="55170"/>
                        <a14:foregroundMark x1="54655" y1="54143" x2="55024" y2="54849"/>
                        <a14:foregroundMark x1="82272" y1="42389" x2="83114" y2="43224"/>
                        <a14:foregroundMark x1="92215" y1="40976" x2="91110" y2="41490"/>
                        <a14:backgroundMark x1="36191" y1="43353" x2="36191" y2="43353"/>
                        <a14:backgroundMark x1="44713" y1="45279" x2="44292" y2="4386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8893" y="1"/>
            <a:ext cx="1249678" cy="1074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8947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E5374A-17C0-49FD-A430-56A30C45E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5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E5374A-17C0-49FD-A430-56A30C45E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71233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2DA1862-1894-4E3E-AEB2-9772C37660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2DA1862-1894-4E3E-AEB2-9772C3766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73177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5C5A0A-835B-4D1E-B8C8-DD3AF063FF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0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5C5A0A-835B-4D1E-B8C8-DD3AF063F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8273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1081290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118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fld id="{6D7769E7-B5C6-AB4D-91FF-3DE628727CD6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33225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5AAC35-B32B-4024-B563-1BF2E528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5AAC35-B32B-4024-B563-1BF2E528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8273143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435429" y="1883664"/>
            <a:ext cx="8273143" cy="444398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9234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118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8273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435429" y="1883664"/>
            <a:ext cx="8273143" cy="183794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435429" y="4005072"/>
            <a:ext cx="8273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435429" y="4489704"/>
            <a:ext cx="8273143" cy="183794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2118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687977" y="4681728"/>
            <a:ext cx="7776754" cy="1655572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kern="0" baseline="0" dirty="0" smtClean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Click to add section title</a:t>
            </a:r>
          </a:p>
          <a:p>
            <a:pPr lvl="1"/>
            <a:r>
              <a:rPr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687977" y="4114800"/>
            <a:ext cx="7776754" cy="566928"/>
          </a:xfrm>
        </p:spPr>
        <p:txBody>
          <a:bodyPr lIns="0" tIns="0" rIns="0" bIns="0" anchor="b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40503491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435429" y="1399032"/>
            <a:ext cx="3918857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4789714" y="1399032"/>
            <a:ext cx="3918857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1330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643BFC1-4F2E-427F-8CD0-149C8D3546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643BFC1-4F2E-427F-8CD0-149C8D3546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3918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9" y="1883664"/>
            <a:ext cx="3918857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789714" y="1399032"/>
            <a:ext cx="3918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4789714" y="1883664"/>
            <a:ext cx="3918857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782666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3918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789714" y="1399032"/>
            <a:ext cx="3918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10442144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orient="horz" pos="1185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35429" y="1399032"/>
            <a:ext cx="3918857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4789714" y="1399032"/>
            <a:ext cx="3918857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435429" y="4005072"/>
            <a:ext cx="3918857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4789714" y="4005072"/>
            <a:ext cx="3918857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816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35429" y="1883664"/>
            <a:ext cx="3918857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4789714" y="139903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4789714" y="1883664"/>
            <a:ext cx="3918857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435429" y="400507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435429" y="4489704"/>
            <a:ext cx="3918857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4789714" y="400507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4789714" y="4489704"/>
            <a:ext cx="3918857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08336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35429" y="139903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4789714" y="139903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435429" y="400507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4789714" y="4005072"/>
            <a:ext cx="3918857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372972196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8" y="1399032"/>
            <a:ext cx="2464526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3339737" y="1399032"/>
            <a:ext cx="2464526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6244046" y="1399032"/>
            <a:ext cx="2464526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088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fld id="{2B9C31CB-80A2-B442-A11E-5704F634001D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54851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8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8" y="1883664"/>
            <a:ext cx="2464526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3339737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3339737" y="1883664"/>
            <a:ext cx="2464526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6244046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6244046" y="1883664"/>
            <a:ext cx="2464526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23991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6" orient="horz" pos="118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8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3339737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6244046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25102006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6" orient="horz" pos="118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35428" y="1399032"/>
            <a:ext cx="2464526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3339737" y="1399032"/>
            <a:ext cx="2464526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6244046" y="1399032"/>
            <a:ext cx="2464526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435428" y="4005072"/>
            <a:ext cx="2464526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3339737" y="4005072"/>
            <a:ext cx="2464526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6244046" y="4005072"/>
            <a:ext cx="2464526" cy="2322576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62966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35428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35428" y="1883664"/>
            <a:ext cx="2464526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3339737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3339737" y="1883664"/>
            <a:ext cx="2464526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6244046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6244046" y="1883664"/>
            <a:ext cx="2464526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435428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435428" y="4489704"/>
            <a:ext cx="2464526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3339737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3339737" y="4489704"/>
            <a:ext cx="2464526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6244046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6244046" y="4489704"/>
            <a:ext cx="2464526" cy="1837944"/>
          </a:xfrm>
        </p:spPr>
        <p:txBody>
          <a:bodyPr>
            <a:noAutofit/>
          </a:bodyPr>
          <a:lstStyle>
            <a:lvl1pPr marL="102859" indent="-102859">
              <a:spcBef>
                <a:spcPts val="571"/>
              </a:spcBef>
              <a:defRPr sz="952" dirty="0" smtClean="0"/>
            </a:lvl1pPr>
            <a:lvl2pPr marL="205718" indent="-102859">
              <a:spcBef>
                <a:spcPts val="190"/>
              </a:spcBef>
              <a:defRPr sz="952" dirty="0" smtClean="0"/>
            </a:lvl2pPr>
            <a:lvl3pPr marL="308578" indent="-102859">
              <a:spcBef>
                <a:spcPts val="190"/>
              </a:spcBef>
              <a:defRPr sz="952" dirty="0" smtClean="0"/>
            </a:lvl3pPr>
            <a:lvl4pPr marL="411437" indent="-102859">
              <a:spcBef>
                <a:spcPts val="190"/>
              </a:spcBef>
              <a:defRPr sz="952" dirty="0" smtClean="0"/>
            </a:lvl4pPr>
            <a:lvl5pPr marL="514296" indent="-102859">
              <a:spcBef>
                <a:spcPts val="190"/>
              </a:spcBef>
              <a:defRPr sz="952" dirty="0" smtClean="0"/>
            </a:lvl5pPr>
            <a:lvl6pPr marL="617155" indent="-102859">
              <a:spcBef>
                <a:spcPts val="190"/>
              </a:spcBef>
              <a:defRPr sz="952" dirty="0" smtClean="0"/>
            </a:lvl6pPr>
            <a:lvl7pPr marL="720014" indent="-102859">
              <a:spcBef>
                <a:spcPts val="190"/>
              </a:spcBef>
              <a:defRPr sz="952" dirty="0" smtClean="0"/>
            </a:lvl7pPr>
            <a:lvl8pPr marL="822874" indent="-102859">
              <a:spcBef>
                <a:spcPts val="190"/>
              </a:spcBef>
              <a:defRPr sz="952" dirty="0" smtClean="0"/>
            </a:lvl8pPr>
            <a:lvl9pPr marL="925733" indent="-102859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294022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35428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3339737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6244046" y="139903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435428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3339737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6244046" y="4005072"/>
            <a:ext cx="2464526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24847157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8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8" y="1883664"/>
            <a:ext cx="2464526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3335383" y="1399032"/>
            <a:ext cx="5373189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3335383" y="1883664"/>
            <a:ext cx="5373189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26620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orient="horz" pos="118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CB79608-2BDC-4711-A45F-0A604593A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CB79608-2BDC-4711-A45F-0A604593A5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35428" y="1399032"/>
            <a:ext cx="5373189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35428" y="1883664"/>
            <a:ext cx="5373189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244046" y="1399032"/>
            <a:ext cx="2464526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244046" y="1883664"/>
            <a:ext cx="2464526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26073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orient="horz" pos="118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fld id="{90EC11A4-024F-4D49-B0C2-3A2373534378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33049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fld id="{80686CD1-62D4-F745-BF44-4BB95CA0AF5A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7881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heme" Target="../theme/theme2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oleObject" Target="../embeddings/oleObject9.bin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tags" Target="../tags/tag9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vmlDrawing" Target="../drawings/vmlDrawing9.v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theme" Target="../theme/theme3.xml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oleObject" Target="../embeddings/oleObject17.bin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vmlDrawing" Target="../drawings/vmlDrawing17.v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theme" Target="../theme/theme4.xml"/><Relationship Id="rId27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6425" cy="113982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6425" cy="452278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outline text format</a:t>
            </a:r>
          </a:p>
          <a:p>
            <a:pPr lvl="1"/>
            <a:r>
              <a:rPr lang="en-GB"/>
              <a:t>Second Outline Level</a:t>
            </a:r>
          </a:p>
          <a:p>
            <a:pPr lvl="2"/>
            <a:r>
              <a:rPr lang="en-GB"/>
              <a:t>Third Outline Level</a:t>
            </a:r>
          </a:p>
          <a:p>
            <a:pPr lvl="3"/>
            <a:r>
              <a:rPr lang="en-GB"/>
              <a:t>Fourth Outline Level</a:t>
            </a:r>
          </a:p>
          <a:p>
            <a:pPr lvl="4"/>
            <a:r>
              <a:rPr lang="en-GB"/>
              <a:t>Fifth Outline Level</a:t>
            </a:r>
          </a:p>
          <a:p>
            <a:pPr lvl="4"/>
            <a:r>
              <a:rPr lang="en-GB"/>
              <a:t>Sixth Outline Level</a:t>
            </a:r>
          </a:p>
          <a:p>
            <a:pPr lvl="4"/>
            <a:r>
              <a:rPr lang="en-GB"/>
              <a:t>Seventh Outline Level</a:t>
            </a:r>
          </a:p>
          <a:p>
            <a:pPr lvl="4"/>
            <a:r>
              <a:rPr lang="en-GB"/>
              <a:t>Eighth Outline Level</a:t>
            </a:r>
          </a:p>
          <a:p>
            <a:pPr lvl="4"/>
            <a:r>
              <a:rPr lang="en-GB"/>
              <a:t>Ninth Outline Level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356350"/>
            <a:ext cx="2130425" cy="36195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>
            <a:lvl1pPr hangingPunct="1">
              <a:lnSpc>
                <a:spcPct val="100000"/>
              </a:lnSpc>
              <a:buClrTx/>
              <a:buFontTx/>
              <a:buNone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+mn-lt"/>
                <a:cs typeface="Lucida Sans Unicode" charset="0"/>
              </a:defRPr>
            </a:lvl1pPr>
          </a:lstStyle>
          <a:p>
            <a:r>
              <a:rPr lang="en-GB"/>
              <a:t>02/06/14</a:t>
            </a:r>
          </a:p>
        </p:txBody>
      </p:sp>
      <p:sp>
        <p:nvSpPr>
          <p:cNvPr id="2052" name="Text Box 4"/>
          <p:cNvSpPr txBox="1">
            <a:spLocks noChangeArrowheads="1"/>
          </p:cNvSpPr>
          <p:nvPr/>
        </p:nvSpPr>
        <p:spPr bwMode="auto"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356350"/>
            <a:ext cx="2130425" cy="36195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>
            <a:lvl1pPr hangingPunct="1">
              <a:lnSpc>
                <a:spcPct val="100000"/>
              </a:lnSpc>
              <a:buClrTx/>
              <a:buFontTx/>
              <a:buNone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+mn-lt"/>
                <a:cs typeface="Lucida Sans Unicode" charset="0"/>
              </a:defRPr>
            </a:lvl1pPr>
          </a:lstStyle>
          <a:p>
            <a:fld id="{BA7FA18E-9F72-924E-AB25-EB10F9ADB1E7}" type="slidenum">
              <a:rPr lang="en-GB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/>
  <p:txStyles>
    <p:titleStyle>
      <a:lvl1pPr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Calibri" charset="0"/>
          <a:ea typeface="ＭＳ Ｐゴシック" charset="0"/>
          <a:cs typeface="Microsoft YaHei" charset="0"/>
        </a:defRPr>
      </a:lvl2pPr>
      <a:lvl3pPr marL="11430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Calibri" charset="0"/>
          <a:ea typeface="ＭＳ Ｐゴシック" charset="0"/>
          <a:cs typeface="Microsoft YaHei" charset="0"/>
        </a:defRPr>
      </a:lvl3pPr>
      <a:lvl4pPr marL="16002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Calibri" charset="0"/>
          <a:ea typeface="ＭＳ Ｐゴシック" charset="0"/>
          <a:cs typeface="Microsoft YaHei" charset="0"/>
        </a:defRPr>
      </a:lvl4pPr>
      <a:lvl5pPr marL="20574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Calibri" charset="0"/>
          <a:ea typeface="ＭＳ Ｐゴシック" charset="0"/>
          <a:cs typeface="Microsoft YaHei" charset="0"/>
        </a:defRPr>
      </a:lvl5pPr>
      <a:lvl6pPr marL="25146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Calibri" charset="0"/>
          <a:ea typeface="ＭＳ Ｐゴシック" charset="0"/>
          <a:cs typeface="Microsoft YaHei" charset="0"/>
        </a:defRPr>
      </a:lvl6pPr>
      <a:lvl7pPr marL="29718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Calibri" charset="0"/>
          <a:ea typeface="ＭＳ Ｐゴシック" charset="0"/>
          <a:cs typeface="Microsoft YaHei" charset="0"/>
        </a:defRPr>
      </a:lvl7pPr>
      <a:lvl8pPr marL="34290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Calibri" charset="0"/>
          <a:ea typeface="ＭＳ Ｐゴシック" charset="0"/>
          <a:cs typeface="Microsoft YaHei" charset="0"/>
        </a:defRPr>
      </a:lvl8pPr>
      <a:lvl9pPr marL="38862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Calibri" charset="0"/>
          <a:ea typeface="ＭＳ Ｐゴシック" charset="0"/>
          <a:cs typeface="Microsoft YaHei" charset="0"/>
        </a:defRPr>
      </a:lvl9pPr>
    </p:titleStyle>
    <p:bodyStyle>
      <a:lvl1pPr marL="342900" indent="-342900" algn="l" defTabSz="449263" rtl="0" fontAlgn="base">
        <a:lnSpc>
          <a:spcPct val="102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charset="0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fontAlgn="base">
        <a:lnSpc>
          <a:spcPct val="102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charset="0"/>
        <a:defRPr sz="24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49263" rtl="0" fontAlgn="base">
        <a:lnSpc>
          <a:spcPct val="102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49263" rtl="0" fontAlgn="base">
        <a:lnSpc>
          <a:spcPct val="102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49263" rtl="0" fontAlgn="base">
        <a:lnSpc>
          <a:spcPct val="102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49263" rtl="0" fontAlgn="base">
        <a:lnSpc>
          <a:spcPct val="102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49263" rtl="0" fontAlgn="base">
        <a:lnSpc>
          <a:spcPct val="102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49263" rtl="0" fontAlgn="base">
        <a:lnSpc>
          <a:spcPct val="102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49263" rtl="0" fontAlgn="base">
        <a:lnSpc>
          <a:spcPct val="102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F03B09E-26AE-4AA9-8628-CD4CFF50CC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/>
          </p:nvPr>
        </p:nvGraphicFramePr>
        <p:xfrm>
          <a:off x="1513" y="1590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6" name="think-cell Slide" r:id="rId26" imgW="353" imgH="353" progId="TCLayout.ActiveDocument.1">
                  <p:embed/>
                </p:oleObj>
              </mc:Choice>
              <mc:Fallback>
                <p:oleObj name="think-cell Slide" r:id="rId26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F03B09E-26AE-4AA9-8628-CD4CFF50C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13" y="1590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35429" y="304736"/>
            <a:ext cx="8273143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35429" y="1399032"/>
            <a:ext cx="8273143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35430" y="6864350"/>
            <a:ext cx="299357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GB" smtClean="0"/>
              <a:pPr/>
              <a:t>25/06/2020</a:t>
            </a:fld>
            <a:endParaRPr lang="en-GB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34786" y="6864350"/>
            <a:ext cx="508000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242786" y="6864350"/>
            <a:ext cx="14514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lideNumber"/>
          <p:cNvSpPr txBox="1"/>
          <p:nvPr userDrawn="1"/>
        </p:nvSpPr>
        <p:spPr>
          <a:xfrm>
            <a:off x="8553046" y="6547104"/>
            <a:ext cx="157094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GB" sz="1000" smtClean="0">
                <a:solidFill>
                  <a:schemeClr val="accent3"/>
                </a:solidFill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1000" dirty="0">
              <a:solidFill>
                <a:schemeClr val="accent3"/>
              </a:solidFill>
            </a:endParaRP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ACD19E3D-87EF-469E-A28F-215F611407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-217714" y="593500"/>
            <a:ext cx="1079500" cy="181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37379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0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700"/>
        </a:spcBef>
        <a:buClr>
          <a:schemeClr val="accent5"/>
        </a:buClr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300"/>
        </a:spcBef>
        <a:buClr>
          <a:schemeClr val="accent5"/>
        </a:buClr>
        <a:buFont typeface="Arial" panose="020B0604020202020204" pitchFamily="34" charset="0"/>
        <a:buChar char="–"/>
        <a:defRPr sz="1400" ker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300"/>
        </a:spcBef>
        <a:buClr>
          <a:schemeClr val="accent5"/>
        </a:buClr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300"/>
        </a:spcBef>
        <a:buClr>
          <a:schemeClr val="accent5"/>
        </a:buClr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300"/>
        </a:spcBef>
        <a:buClr>
          <a:schemeClr val="accent5"/>
        </a:buClr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2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90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16">
          <p15:clr>
            <a:srgbClr val="F26B43"/>
          </p15:clr>
        </p15:guide>
        <p15:guide id="2" pos="4320">
          <p15:clr>
            <a:srgbClr val="F26B43"/>
          </p15:clr>
        </p15:guide>
        <p15:guide id="3" orient="horz" pos="678">
          <p15:clr>
            <a:srgbClr val="F26B43"/>
          </p15:clr>
        </p15:guide>
        <p15:guide id="4" orient="horz" pos="881">
          <p15:clr>
            <a:srgbClr val="F26B43"/>
          </p15:clr>
        </p15:guide>
        <p15:guide id="5" orient="horz" pos="3986">
          <p15:clr>
            <a:srgbClr val="F26B43"/>
          </p15:clr>
        </p15:guide>
        <p15:guide id="6" orient="horz" pos="18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F03B09E-26AE-4AA9-8628-CD4CFF50CC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4" name="think-cell Slide" r:id="rId26" imgW="353" imgH="353" progId="TCLayout.ActiveDocument.1">
                  <p:embed/>
                </p:oleObj>
              </mc:Choice>
              <mc:Fallback>
                <p:oleObj name="think-cell Slide" r:id="rId26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F03B09E-26AE-4AA9-8628-CD4CFF50C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35429" y="304736"/>
            <a:ext cx="8273143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35429" y="1399032"/>
            <a:ext cx="8273143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35429" y="6864350"/>
            <a:ext cx="299357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286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GB" smtClean="0"/>
              <a:pPr/>
              <a:t>25/06/2020</a:t>
            </a:fld>
            <a:endParaRPr lang="en-GB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34786" y="6864350"/>
            <a:ext cx="508000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286">
                <a:solidFill>
                  <a:schemeClr val="accent4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242786" y="6864350"/>
            <a:ext cx="14514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86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lideNumber"/>
          <p:cNvSpPr txBox="1"/>
          <p:nvPr userDrawn="1"/>
        </p:nvSpPr>
        <p:spPr>
          <a:xfrm>
            <a:off x="8562663" y="6550791"/>
            <a:ext cx="147476" cy="1465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870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GB" sz="952" smtClean="0">
                <a:solidFill>
                  <a:schemeClr val="accent3"/>
                </a:solidFill>
              </a:rPr>
              <a:pPr marL="0" marR="0" indent="0" algn="r" defTabSz="8708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52" dirty="0">
              <a:solidFill>
                <a:schemeClr val="accent3"/>
              </a:solidFill>
            </a:endParaRP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ACD19E3D-87EF-469E-A28F-215F611407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-217714" y="593499"/>
            <a:ext cx="1079500" cy="181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20820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</p:sldLayoutIdLst>
  <p:txStyles>
    <p:titleStyle>
      <a:lvl1pPr algn="l" defTabSz="870875" rtl="0" eaLnBrk="1" latinLnBrk="0" hangingPunct="1">
        <a:lnSpc>
          <a:spcPct val="88000"/>
        </a:lnSpc>
        <a:spcBef>
          <a:spcPct val="0"/>
        </a:spcBef>
        <a:buNone/>
        <a:defRPr sz="1905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32" indent="-171432" algn="l" defTabSz="870875" rtl="0" eaLnBrk="1" latinLnBrk="0" hangingPunct="1">
        <a:spcBef>
          <a:spcPts val="667"/>
        </a:spcBef>
        <a:buClr>
          <a:schemeClr val="accent5"/>
        </a:buClr>
        <a:buFont typeface="Arial" panose="020B0604020202020204" pitchFamily="34" charset="0"/>
        <a:buChar char="•"/>
        <a:defRPr sz="1333" kern="0">
          <a:solidFill>
            <a:schemeClr val="tx1"/>
          </a:solidFill>
          <a:latin typeface="+mn-lt"/>
          <a:ea typeface="+mn-ea"/>
          <a:cs typeface="+mn-cs"/>
        </a:defRPr>
      </a:lvl1pPr>
      <a:lvl2pPr marL="342864" indent="-171432" algn="l" defTabSz="870875" rtl="0" eaLnBrk="1" latinLnBrk="0" hangingPunct="1">
        <a:spcBef>
          <a:spcPts val="286"/>
        </a:spcBef>
        <a:buClr>
          <a:schemeClr val="accent5"/>
        </a:buClr>
        <a:buFont typeface="Arial" panose="020B0604020202020204" pitchFamily="34" charset="0"/>
        <a:buChar char="–"/>
        <a:defRPr sz="1333" kern="0">
          <a:solidFill>
            <a:schemeClr val="tx1"/>
          </a:solidFill>
          <a:latin typeface="+mn-lt"/>
          <a:ea typeface="+mn-ea"/>
          <a:cs typeface="+mn-cs"/>
        </a:defRPr>
      </a:lvl2pPr>
      <a:lvl3pPr marL="514296" indent="-171432" algn="l" defTabSz="870875" rtl="0" eaLnBrk="1" latinLnBrk="0" hangingPunct="1">
        <a:spcBef>
          <a:spcPts val="286"/>
        </a:spcBef>
        <a:buClr>
          <a:schemeClr val="accent5"/>
        </a:buClr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3pPr>
      <a:lvl4pPr marL="685728" indent="-171432" algn="l" defTabSz="870875" rtl="0" eaLnBrk="1" latinLnBrk="0" hangingPunct="1">
        <a:spcBef>
          <a:spcPts val="286"/>
        </a:spcBef>
        <a:buClr>
          <a:schemeClr val="accent5"/>
        </a:buClr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4pPr>
      <a:lvl5pPr marL="857160" indent="-171432" algn="l" defTabSz="870875" rtl="0" eaLnBrk="1" latinLnBrk="0" hangingPunct="1">
        <a:spcBef>
          <a:spcPts val="286"/>
        </a:spcBef>
        <a:buClr>
          <a:schemeClr val="accent5"/>
        </a:buClr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5pPr>
      <a:lvl6pPr marL="1028592" indent="-171432" algn="l" defTabSz="870875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6pPr>
      <a:lvl7pPr marL="1200024" indent="-171432" algn="l" defTabSz="870875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7pPr>
      <a:lvl8pPr marL="1371456" indent="-171432" algn="l" defTabSz="870875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8pPr>
      <a:lvl9pPr marL="1542888" indent="-171432" algn="l" defTabSz="870875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1pPr>
      <a:lvl2pPr marL="171432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2pPr>
      <a:lvl3pPr marL="342864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3pPr>
      <a:lvl4pPr marL="514296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4pPr>
      <a:lvl5pPr marL="685728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5pPr>
      <a:lvl6pPr marL="857160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6pPr>
      <a:lvl7pPr marL="1028592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7pPr>
      <a:lvl8pPr marL="1200024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8pPr>
      <a:lvl9pPr marL="1371456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">
          <p15:clr>
            <a:srgbClr val="F26B43"/>
          </p15:clr>
        </p15:guide>
        <p15:guide id="2" pos="5760">
          <p15:clr>
            <a:srgbClr val="F26B43"/>
          </p15:clr>
        </p15:guide>
        <p15:guide id="3" orient="horz" pos="678">
          <p15:clr>
            <a:srgbClr val="F26B43"/>
          </p15:clr>
        </p15:guide>
        <p15:guide id="4" orient="horz" pos="881">
          <p15:clr>
            <a:srgbClr val="F26B43"/>
          </p15:clr>
        </p15:guide>
        <p15:guide id="5" orient="horz" pos="3986">
          <p15:clr>
            <a:srgbClr val="F26B43"/>
          </p15:clr>
        </p15:guide>
        <p15:guide id="6" orient="horz" pos="18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F03B09E-26AE-4AA9-8628-CD4CFF50CC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09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F03B09E-26AE-4AA9-8628-CD4CFF50C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35429" y="304736"/>
            <a:ext cx="8273143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35429" y="1399032"/>
            <a:ext cx="8273143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35429" y="6864350"/>
            <a:ext cx="299357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286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GB" smtClean="0"/>
              <a:pPr/>
              <a:t>25/06/2020</a:t>
            </a:fld>
            <a:endParaRPr lang="en-GB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34786" y="6864350"/>
            <a:ext cx="508000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286">
                <a:solidFill>
                  <a:schemeClr val="accent4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242786" y="6864350"/>
            <a:ext cx="14514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86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lideNumber"/>
          <p:cNvSpPr txBox="1"/>
          <p:nvPr userDrawn="1"/>
        </p:nvSpPr>
        <p:spPr>
          <a:xfrm>
            <a:off x="8562663" y="6550791"/>
            <a:ext cx="147476" cy="1465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870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GB" sz="952" smtClean="0">
                <a:solidFill>
                  <a:schemeClr val="accent3"/>
                </a:solidFill>
              </a:rPr>
              <a:pPr marL="0" marR="0" indent="0" algn="r" defTabSz="8708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52" dirty="0">
              <a:solidFill>
                <a:schemeClr val="accent3"/>
              </a:solidFill>
            </a:endParaRP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ACD19E3D-87EF-469E-A28F-215F611407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-217714" y="593499"/>
            <a:ext cx="1079500" cy="181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4329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</p:sldLayoutIdLst>
  <p:txStyles>
    <p:titleStyle>
      <a:lvl1pPr algn="l" defTabSz="870875" rtl="0" eaLnBrk="1" latinLnBrk="0" hangingPunct="1">
        <a:lnSpc>
          <a:spcPct val="88000"/>
        </a:lnSpc>
        <a:spcBef>
          <a:spcPct val="0"/>
        </a:spcBef>
        <a:buNone/>
        <a:defRPr sz="1905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32" indent="-171432" algn="l" defTabSz="870875" rtl="0" eaLnBrk="1" latinLnBrk="0" hangingPunct="1">
        <a:spcBef>
          <a:spcPts val="667"/>
        </a:spcBef>
        <a:buClr>
          <a:schemeClr val="accent5"/>
        </a:buClr>
        <a:buFont typeface="Arial" panose="020B0604020202020204" pitchFamily="34" charset="0"/>
        <a:buChar char="•"/>
        <a:defRPr sz="1333" kern="0">
          <a:solidFill>
            <a:schemeClr val="tx1"/>
          </a:solidFill>
          <a:latin typeface="+mn-lt"/>
          <a:ea typeface="+mn-ea"/>
          <a:cs typeface="+mn-cs"/>
        </a:defRPr>
      </a:lvl1pPr>
      <a:lvl2pPr marL="342864" indent="-171432" algn="l" defTabSz="870875" rtl="0" eaLnBrk="1" latinLnBrk="0" hangingPunct="1">
        <a:spcBef>
          <a:spcPts val="286"/>
        </a:spcBef>
        <a:buClr>
          <a:schemeClr val="accent5"/>
        </a:buClr>
        <a:buFont typeface="Arial" panose="020B0604020202020204" pitchFamily="34" charset="0"/>
        <a:buChar char="–"/>
        <a:defRPr sz="1333" kern="0">
          <a:solidFill>
            <a:schemeClr val="tx1"/>
          </a:solidFill>
          <a:latin typeface="+mn-lt"/>
          <a:ea typeface="+mn-ea"/>
          <a:cs typeface="+mn-cs"/>
        </a:defRPr>
      </a:lvl2pPr>
      <a:lvl3pPr marL="514296" indent="-171432" algn="l" defTabSz="870875" rtl="0" eaLnBrk="1" latinLnBrk="0" hangingPunct="1">
        <a:spcBef>
          <a:spcPts val="286"/>
        </a:spcBef>
        <a:buClr>
          <a:schemeClr val="accent5"/>
        </a:buClr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3pPr>
      <a:lvl4pPr marL="685728" indent="-171432" algn="l" defTabSz="870875" rtl="0" eaLnBrk="1" latinLnBrk="0" hangingPunct="1">
        <a:spcBef>
          <a:spcPts val="286"/>
        </a:spcBef>
        <a:buClr>
          <a:schemeClr val="accent5"/>
        </a:buClr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4pPr>
      <a:lvl5pPr marL="857160" indent="-171432" algn="l" defTabSz="870875" rtl="0" eaLnBrk="1" latinLnBrk="0" hangingPunct="1">
        <a:spcBef>
          <a:spcPts val="286"/>
        </a:spcBef>
        <a:buClr>
          <a:schemeClr val="accent5"/>
        </a:buClr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5pPr>
      <a:lvl6pPr marL="1028592" indent="-171432" algn="l" defTabSz="870875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6pPr>
      <a:lvl7pPr marL="1200024" indent="-171432" algn="l" defTabSz="870875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7pPr>
      <a:lvl8pPr marL="1371456" indent="-171432" algn="l" defTabSz="870875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8pPr>
      <a:lvl9pPr marL="1542888" indent="-171432" algn="l" defTabSz="870875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1pPr>
      <a:lvl2pPr marL="171432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2pPr>
      <a:lvl3pPr marL="342864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3pPr>
      <a:lvl4pPr marL="514296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4pPr>
      <a:lvl5pPr marL="685728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5pPr>
      <a:lvl6pPr marL="857160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6pPr>
      <a:lvl7pPr marL="1028592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7pPr>
      <a:lvl8pPr marL="1200024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8pPr>
      <a:lvl9pPr marL="1371456" algn="l" defTabSz="870875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">
          <p15:clr>
            <a:srgbClr val="F26B43"/>
          </p15:clr>
        </p15:guide>
        <p15:guide id="2" pos="5760">
          <p15:clr>
            <a:srgbClr val="F26B43"/>
          </p15:clr>
        </p15:guide>
        <p15:guide id="3" orient="horz" pos="678">
          <p15:clr>
            <a:srgbClr val="F26B43"/>
          </p15:clr>
        </p15:guide>
        <p15:guide id="4" orient="horz" pos="881">
          <p15:clr>
            <a:srgbClr val="F26B43"/>
          </p15:clr>
        </p15:guide>
        <p15:guide id="5" orient="horz" pos="3986">
          <p15:clr>
            <a:srgbClr val="F26B43"/>
          </p15:clr>
        </p15:guide>
        <p15:guide id="6" orient="horz" pos="1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10" Type="http://schemas.openxmlformats.org/officeDocument/2006/relationships/image" Target="../media/image15.jpeg"/><Relationship Id="rId4" Type="http://schemas.openxmlformats.org/officeDocument/2006/relationships/image" Target="../media/image9.png"/><Relationship Id="rId9" Type="http://schemas.openxmlformats.org/officeDocument/2006/relationships/image" Target="../media/image14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3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Relationship Id="rId4" Type="http://schemas.microsoft.com/office/2007/relationships/hdphoto" Target="../media/hdphoto4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6072" y="5373216"/>
            <a:ext cx="7776754" cy="451909"/>
          </a:xfrm>
        </p:spPr>
        <p:txBody>
          <a:bodyPr/>
          <a:lstStyle/>
          <a:p>
            <a:pPr>
              <a:buNone/>
            </a:pPr>
            <a:r>
              <a:rPr lang="en-GB" sz="2800" dirty="0">
                <a:solidFill>
                  <a:schemeClr val="accent5"/>
                </a:solidFill>
              </a:rPr>
              <a:t>Dr Afsheen Kabir Rashid MB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6072" y="6050777"/>
            <a:ext cx="3267166" cy="263790"/>
          </a:xfrm>
        </p:spPr>
        <p:txBody>
          <a:bodyPr/>
          <a:lstStyle/>
          <a:p>
            <a:r>
              <a:rPr lang="en-GB" dirty="0"/>
              <a:t>June 2020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8323570-55D6-4247-BC8A-32BAB3001BF5}"/>
              </a:ext>
            </a:extLst>
          </p:cNvPr>
          <p:cNvSpPr txBox="1">
            <a:spLocks/>
          </p:cNvSpPr>
          <p:nvPr/>
        </p:nvSpPr>
        <p:spPr>
          <a:xfrm>
            <a:off x="559837" y="508144"/>
            <a:ext cx="8273143" cy="751694"/>
          </a:xfrm>
          <a:prstGeom prst="rect">
            <a:avLst/>
          </a:prstGeom>
        </p:spPr>
        <p:txBody>
          <a:bodyPr/>
          <a:lstStyle>
            <a:lvl1pPr algn="l" defTabSz="870875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1905" ker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buClrTx/>
              <a:buSzTx/>
              <a:buFontTx/>
            </a:pPr>
            <a:r>
              <a:rPr lang="en-GB" sz="2667" b="1" dirty="0"/>
              <a:t>Participation and inclusion</a:t>
            </a:r>
            <a:br>
              <a:rPr lang="en-GB" b="1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140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 txBox="1">
            <a:spLocks/>
          </p:cNvSpPr>
          <p:nvPr/>
        </p:nvSpPr>
        <p:spPr>
          <a:xfrm>
            <a:off x="1188593" y="1708042"/>
            <a:ext cx="3054047" cy="4263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708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GB" sz="1905" b="1" dirty="0">
                <a:solidFill>
                  <a:srgbClr val="00B050"/>
                </a:solidFill>
                <a:latin typeface="Arial"/>
              </a:rPr>
              <a:t>670 kW </a:t>
            </a:r>
          </a:p>
          <a:p>
            <a:pPr marL="0" indent="0" defTabSz="8708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GB" sz="1143" dirty="0">
                <a:solidFill>
                  <a:srgbClr val="00B050"/>
                </a:solidFill>
                <a:latin typeface="Arial"/>
              </a:rPr>
              <a:t>of installed rooftop solar capacity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1221230" y="2685897"/>
            <a:ext cx="3064186" cy="4263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708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GB" sz="1905" b="1" dirty="0">
                <a:solidFill>
                  <a:srgbClr val="FF9F18"/>
                </a:solidFill>
                <a:latin typeface="Arial"/>
              </a:rPr>
              <a:t>£710,000 </a:t>
            </a:r>
          </a:p>
          <a:p>
            <a:pPr marL="0" indent="0" defTabSz="8708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GB" sz="1143" dirty="0">
                <a:solidFill>
                  <a:srgbClr val="FF9F18"/>
                </a:solidFill>
                <a:latin typeface="Arial"/>
              </a:rPr>
              <a:t>Shares and debt invested into the community</a:t>
            </a:r>
          </a:p>
        </p:txBody>
      </p:sp>
      <p:sp>
        <p:nvSpPr>
          <p:cNvPr id="12" name="Content Placeholder 3"/>
          <p:cNvSpPr txBox="1">
            <a:spLocks/>
          </p:cNvSpPr>
          <p:nvPr/>
        </p:nvSpPr>
        <p:spPr>
          <a:xfrm>
            <a:off x="1112653" y="3650400"/>
            <a:ext cx="2894852" cy="4263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708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GB" sz="1905" b="1" dirty="0">
                <a:solidFill>
                  <a:srgbClr val="606060"/>
                </a:solidFill>
                <a:latin typeface="Arial"/>
              </a:rPr>
              <a:t>~84 young people</a:t>
            </a:r>
          </a:p>
          <a:p>
            <a:pPr marL="0" indent="0" defTabSz="8708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GB" sz="1143" dirty="0">
                <a:solidFill>
                  <a:srgbClr val="606060"/>
                </a:solidFill>
                <a:latin typeface="Arial"/>
              </a:rPr>
              <a:t>trained and received paid work experience</a:t>
            </a:r>
          </a:p>
        </p:txBody>
      </p:sp>
      <p:sp>
        <p:nvSpPr>
          <p:cNvPr id="13" name="Content Placeholder 3"/>
          <p:cNvSpPr txBox="1">
            <a:spLocks/>
          </p:cNvSpPr>
          <p:nvPr/>
        </p:nvSpPr>
        <p:spPr>
          <a:xfrm>
            <a:off x="1147832" y="4619619"/>
            <a:ext cx="2580025" cy="4263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708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GB" sz="1905" b="1" dirty="0">
                <a:solidFill>
                  <a:srgbClr val="000090"/>
                </a:solidFill>
                <a:latin typeface="Arial"/>
              </a:rPr>
              <a:t>144 tonnes </a:t>
            </a:r>
          </a:p>
          <a:p>
            <a:pPr marL="0" indent="0" defTabSz="8708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GB" sz="1143" dirty="0">
                <a:solidFill>
                  <a:srgbClr val="000090"/>
                </a:solidFill>
                <a:latin typeface="Arial"/>
              </a:rPr>
              <a:t>of CO</a:t>
            </a:r>
            <a:r>
              <a:rPr lang="en-GB" sz="1143" baseline="-25000" dirty="0">
                <a:solidFill>
                  <a:srgbClr val="000090"/>
                </a:solidFill>
                <a:latin typeface="Arial"/>
              </a:rPr>
              <a:t>2  </a:t>
            </a:r>
            <a:r>
              <a:rPr lang="en-GB" sz="1143" dirty="0">
                <a:solidFill>
                  <a:srgbClr val="000090"/>
                </a:solidFill>
                <a:latin typeface="Arial"/>
              </a:rPr>
              <a:t>emissions avoided each year</a:t>
            </a:r>
          </a:p>
        </p:txBody>
      </p:sp>
      <p:sp>
        <p:nvSpPr>
          <p:cNvPr id="15" name="Content Placeholder 3"/>
          <p:cNvSpPr txBox="1">
            <a:spLocks/>
          </p:cNvSpPr>
          <p:nvPr/>
        </p:nvSpPr>
        <p:spPr>
          <a:xfrm>
            <a:off x="1206075" y="5580268"/>
            <a:ext cx="2955330" cy="4263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708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GB" sz="1905" b="1" dirty="0">
                <a:solidFill>
                  <a:srgbClr val="CB225B"/>
                </a:solidFill>
                <a:latin typeface="Arial"/>
              </a:rPr>
              <a:t>£196,000</a:t>
            </a:r>
          </a:p>
          <a:p>
            <a:pPr marL="0" indent="0" defTabSz="8708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GB" sz="1143" dirty="0">
                <a:solidFill>
                  <a:srgbClr val="CB225B"/>
                </a:solidFill>
                <a:latin typeface="Arial"/>
              </a:rPr>
              <a:t>Community Fund ringfenced for the local area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12759" y="1608452"/>
            <a:ext cx="578722" cy="491577"/>
            <a:chOff x="4995824" y="1514002"/>
            <a:chExt cx="957830" cy="813468"/>
          </a:xfrm>
          <a:solidFill>
            <a:srgbClr val="00B050"/>
          </a:solidFill>
        </p:grpSpPr>
        <p:grpSp>
          <p:nvGrpSpPr>
            <p:cNvPr id="17" name="Group 16"/>
            <p:cNvGrpSpPr>
              <a:grpSpLocks noChangeAspect="1"/>
            </p:cNvGrpSpPr>
            <p:nvPr/>
          </p:nvGrpSpPr>
          <p:grpSpPr bwMode="gray">
            <a:xfrm>
              <a:off x="4995824" y="1514002"/>
              <a:ext cx="457023" cy="442701"/>
              <a:chOff x="725488" y="-646113"/>
              <a:chExt cx="8156575" cy="7900988"/>
            </a:xfrm>
            <a:grpFill/>
          </p:grpSpPr>
          <p:sp>
            <p:nvSpPr>
              <p:cNvPr id="33" name="Oval 55"/>
              <p:cNvSpPr>
                <a:spLocks noChangeArrowheads="1"/>
              </p:cNvSpPr>
              <p:nvPr/>
            </p:nvSpPr>
            <p:spPr bwMode="gray">
              <a:xfrm>
                <a:off x="2578101" y="1206500"/>
                <a:ext cx="4451350" cy="4454526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56"/>
              <p:cNvSpPr>
                <a:spLocks/>
              </p:cNvSpPr>
              <p:nvPr/>
            </p:nvSpPr>
            <p:spPr bwMode="gray">
              <a:xfrm>
                <a:off x="4551363" y="-646113"/>
                <a:ext cx="504825" cy="1266825"/>
              </a:xfrm>
              <a:custGeom>
                <a:avLst/>
                <a:gdLst>
                  <a:gd name="T0" fmla="*/ 135 w 135"/>
                  <a:gd name="T1" fmla="*/ 338 h 338"/>
                  <a:gd name="T2" fmla="*/ 135 w 135"/>
                  <a:gd name="T3" fmla="*/ 47 h 338"/>
                  <a:gd name="T4" fmla="*/ 71 w 135"/>
                  <a:gd name="T5" fmla="*/ 0 h 338"/>
                  <a:gd name="T6" fmla="*/ 64 w 135"/>
                  <a:gd name="T7" fmla="*/ 0 h 338"/>
                  <a:gd name="T8" fmla="*/ 0 w 135"/>
                  <a:gd name="T9" fmla="*/ 47 h 338"/>
                  <a:gd name="T10" fmla="*/ 0 w 135"/>
                  <a:gd name="T11" fmla="*/ 338 h 338"/>
                  <a:gd name="T12" fmla="*/ 67 w 135"/>
                  <a:gd name="T13" fmla="*/ 335 h 338"/>
                  <a:gd name="T14" fmla="*/ 135 w 135"/>
                  <a:gd name="T15" fmla="*/ 338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5" h="338">
                    <a:moveTo>
                      <a:pt x="135" y="338"/>
                    </a:moveTo>
                    <a:cubicBezTo>
                      <a:pt x="135" y="47"/>
                      <a:pt x="135" y="47"/>
                      <a:pt x="135" y="47"/>
                    </a:cubicBezTo>
                    <a:cubicBezTo>
                      <a:pt x="135" y="21"/>
                      <a:pt x="106" y="0"/>
                      <a:pt x="71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28" y="0"/>
                      <a:pt x="0" y="21"/>
                      <a:pt x="0" y="47"/>
                    </a:cubicBezTo>
                    <a:cubicBezTo>
                      <a:pt x="0" y="338"/>
                      <a:pt x="0" y="338"/>
                      <a:pt x="0" y="338"/>
                    </a:cubicBezTo>
                    <a:cubicBezTo>
                      <a:pt x="22" y="336"/>
                      <a:pt x="45" y="335"/>
                      <a:pt x="67" y="335"/>
                    </a:cubicBezTo>
                    <a:cubicBezTo>
                      <a:pt x="90" y="335"/>
                      <a:pt x="113" y="336"/>
                      <a:pt x="135" y="33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58"/>
              <p:cNvSpPr>
                <a:spLocks/>
              </p:cNvSpPr>
              <p:nvPr/>
            </p:nvSpPr>
            <p:spPr bwMode="gray">
              <a:xfrm>
                <a:off x="7618413" y="3182937"/>
                <a:ext cx="1263650" cy="506413"/>
              </a:xfrm>
              <a:custGeom>
                <a:avLst/>
                <a:gdLst>
                  <a:gd name="T0" fmla="*/ 291 w 337"/>
                  <a:gd name="T1" fmla="*/ 0 h 135"/>
                  <a:gd name="T2" fmla="*/ 0 w 337"/>
                  <a:gd name="T3" fmla="*/ 0 h 135"/>
                  <a:gd name="T4" fmla="*/ 3 w 337"/>
                  <a:gd name="T5" fmla="*/ 67 h 135"/>
                  <a:gd name="T6" fmla="*/ 0 w 337"/>
                  <a:gd name="T7" fmla="*/ 135 h 135"/>
                  <a:gd name="T8" fmla="*/ 291 w 337"/>
                  <a:gd name="T9" fmla="*/ 135 h 135"/>
                  <a:gd name="T10" fmla="*/ 337 w 337"/>
                  <a:gd name="T11" fmla="*/ 71 h 135"/>
                  <a:gd name="T12" fmla="*/ 337 w 337"/>
                  <a:gd name="T13" fmla="*/ 64 h 135"/>
                  <a:gd name="T14" fmla="*/ 291 w 337"/>
                  <a:gd name="T15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7" h="135">
                    <a:moveTo>
                      <a:pt x="29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22"/>
                      <a:pt x="3" y="45"/>
                      <a:pt x="3" y="67"/>
                    </a:cubicBezTo>
                    <a:cubicBezTo>
                      <a:pt x="3" y="90"/>
                      <a:pt x="2" y="113"/>
                      <a:pt x="0" y="135"/>
                    </a:cubicBezTo>
                    <a:cubicBezTo>
                      <a:pt x="291" y="135"/>
                      <a:pt x="291" y="135"/>
                      <a:pt x="291" y="135"/>
                    </a:cubicBezTo>
                    <a:cubicBezTo>
                      <a:pt x="317" y="135"/>
                      <a:pt x="337" y="106"/>
                      <a:pt x="337" y="71"/>
                    </a:cubicBezTo>
                    <a:cubicBezTo>
                      <a:pt x="337" y="64"/>
                      <a:pt x="337" y="64"/>
                      <a:pt x="337" y="64"/>
                    </a:cubicBezTo>
                    <a:cubicBezTo>
                      <a:pt x="337" y="28"/>
                      <a:pt x="317" y="0"/>
                      <a:pt x="29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59"/>
              <p:cNvSpPr>
                <a:spLocks/>
              </p:cNvSpPr>
              <p:nvPr/>
            </p:nvSpPr>
            <p:spPr bwMode="gray">
              <a:xfrm>
                <a:off x="725488" y="3182937"/>
                <a:ext cx="1263650" cy="506413"/>
              </a:xfrm>
              <a:custGeom>
                <a:avLst/>
                <a:gdLst>
                  <a:gd name="T0" fmla="*/ 337 w 337"/>
                  <a:gd name="T1" fmla="*/ 0 h 135"/>
                  <a:gd name="T2" fmla="*/ 46 w 337"/>
                  <a:gd name="T3" fmla="*/ 0 h 135"/>
                  <a:gd name="T4" fmla="*/ 0 w 337"/>
                  <a:gd name="T5" fmla="*/ 64 h 135"/>
                  <a:gd name="T6" fmla="*/ 0 w 337"/>
                  <a:gd name="T7" fmla="*/ 71 h 135"/>
                  <a:gd name="T8" fmla="*/ 46 w 337"/>
                  <a:gd name="T9" fmla="*/ 135 h 135"/>
                  <a:gd name="T10" fmla="*/ 337 w 337"/>
                  <a:gd name="T11" fmla="*/ 135 h 135"/>
                  <a:gd name="T12" fmla="*/ 334 w 337"/>
                  <a:gd name="T13" fmla="*/ 67 h 135"/>
                  <a:gd name="T14" fmla="*/ 337 w 337"/>
                  <a:gd name="T15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7" h="135">
                    <a:moveTo>
                      <a:pt x="337" y="0"/>
                    </a:moveTo>
                    <a:cubicBezTo>
                      <a:pt x="46" y="0"/>
                      <a:pt x="46" y="0"/>
                      <a:pt x="46" y="0"/>
                    </a:cubicBezTo>
                    <a:cubicBezTo>
                      <a:pt x="20" y="0"/>
                      <a:pt x="0" y="28"/>
                      <a:pt x="0" y="64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106"/>
                      <a:pt x="20" y="135"/>
                      <a:pt x="46" y="135"/>
                    </a:cubicBezTo>
                    <a:cubicBezTo>
                      <a:pt x="337" y="135"/>
                      <a:pt x="337" y="135"/>
                      <a:pt x="337" y="135"/>
                    </a:cubicBezTo>
                    <a:cubicBezTo>
                      <a:pt x="335" y="113"/>
                      <a:pt x="334" y="90"/>
                      <a:pt x="334" y="67"/>
                    </a:cubicBezTo>
                    <a:cubicBezTo>
                      <a:pt x="334" y="45"/>
                      <a:pt x="335" y="22"/>
                      <a:pt x="33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60"/>
              <p:cNvSpPr>
                <a:spLocks/>
              </p:cNvSpPr>
              <p:nvPr/>
            </p:nvSpPr>
            <p:spPr bwMode="gray">
              <a:xfrm>
                <a:off x="6613526" y="425450"/>
                <a:ext cx="1200150" cy="1196975"/>
              </a:xfrm>
              <a:custGeom>
                <a:avLst/>
                <a:gdLst>
                  <a:gd name="T0" fmla="*/ 96 w 320"/>
                  <a:gd name="T1" fmla="*/ 319 h 319"/>
                  <a:gd name="T2" fmla="*/ 302 w 320"/>
                  <a:gd name="T3" fmla="*/ 113 h 319"/>
                  <a:gd name="T4" fmla="*/ 289 w 320"/>
                  <a:gd name="T5" fmla="*/ 36 h 319"/>
                  <a:gd name="T6" fmla="*/ 284 w 320"/>
                  <a:gd name="T7" fmla="*/ 30 h 319"/>
                  <a:gd name="T8" fmla="*/ 206 w 320"/>
                  <a:gd name="T9" fmla="*/ 18 h 319"/>
                  <a:gd name="T10" fmla="*/ 0 w 320"/>
                  <a:gd name="T11" fmla="*/ 224 h 319"/>
                  <a:gd name="T12" fmla="*/ 96 w 320"/>
                  <a:gd name="T13" fmla="*/ 319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0" h="319">
                    <a:moveTo>
                      <a:pt x="96" y="319"/>
                    </a:moveTo>
                    <a:cubicBezTo>
                      <a:pt x="302" y="113"/>
                      <a:pt x="302" y="113"/>
                      <a:pt x="302" y="113"/>
                    </a:cubicBezTo>
                    <a:cubicBezTo>
                      <a:pt x="320" y="95"/>
                      <a:pt x="314" y="61"/>
                      <a:pt x="289" y="36"/>
                    </a:cubicBezTo>
                    <a:cubicBezTo>
                      <a:pt x="284" y="30"/>
                      <a:pt x="284" y="30"/>
                      <a:pt x="284" y="30"/>
                    </a:cubicBezTo>
                    <a:cubicBezTo>
                      <a:pt x="259" y="5"/>
                      <a:pt x="224" y="0"/>
                      <a:pt x="206" y="18"/>
                    </a:cubicBezTo>
                    <a:cubicBezTo>
                      <a:pt x="0" y="224"/>
                      <a:pt x="0" y="224"/>
                      <a:pt x="0" y="224"/>
                    </a:cubicBezTo>
                    <a:cubicBezTo>
                      <a:pt x="35" y="253"/>
                      <a:pt x="67" y="285"/>
                      <a:pt x="96" y="3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61"/>
              <p:cNvSpPr>
                <a:spLocks/>
              </p:cNvSpPr>
              <p:nvPr/>
            </p:nvSpPr>
            <p:spPr bwMode="gray">
              <a:xfrm>
                <a:off x="1793876" y="5245100"/>
                <a:ext cx="1200150" cy="1200150"/>
              </a:xfrm>
              <a:custGeom>
                <a:avLst/>
                <a:gdLst>
                  <a:gd name="T0" fmla="*/ 224 w 320"/>
                  <a:gd name="T1" fmla="*/ 0 h 320"/>
                  <a:gd name="T2" fmla="*/ 18 w 320"/>
                  <a:gd name="T3" fmla="*/ 206 h 320"/>
                  <a:gd name="T4" fmla="*/ 31 w 320"/>
                  <a:gd name="T5" fmla="*/ 284 h 320"/>
                  <a:gd name="T6" fmla="*/ 36 w 320"/>
                  <a:gd name="T7" fmla="*/ 289 h 320"/>
                  <a:gd name="T8" fmla="*/ 114 w 320"/>
                  <a:gd name="T9" fmla="*/ 302 h 320"/>
                  <a:gd name="T10" fmla="*/ 320 w 320"/>
                  <a:gd name="T11" fmla="*/ 96 h 320"/>
                  <a:gd name="T12" fmla="*/ 224 w 320"/>
                  <a:gd name="T13" fmla="*/ 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0" h="320">
                    <a:moveTo>
                      <a:pt x="224" y="0"/>
                    </a:moveTo>
                    <a:cubicBezTo>
                      <a:pt x="18" y="206"/>
                      <a:pt x="18" y="206"/>
                      <a:pt x="18" y="206"/>
                    </a:cubicBezTo>
                    <a:cubicBezTo>
                      <a:pt x="0" y="224"/>
                      <a:pt x="6" y="259"/>
                      <a:pt x="31" y="284"/>
                    </a:cubicBezTo>
                    <a:cubicBezTo>
                      <a:pt x="36" y="289"/>
                      <a:pt x="36" y="289"/>
                      <a:pt x="36" y="289"/>
                    </a:cubicBezTo>
                    <a:cubicBezTo>
                      <a:pt x="61" y="314"/>
                      <a:pt x="96" y="320"/>
                      <a:pt x="114" y="302"/>
                    </a:cubicBezTo>
                    <a:cubicBezTo>
                      <a:pt x="320" y="96"/>
                      <a:pt x="320" y="96"/>
                      <a:pt x="320" y="96"/>
                    </a:cubicBezTo>
                    <a:cubicBezTo>
                      <a:pt x="285" y="67"/>
                      <a:pt x="253" y="35"/>
                      <a:pt x="22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62"/>
              <p:cNvSpPr>
                <a:spLocks/>
              </p:cNvSpPr>
              <p:nvPr/>
            </p:nvSpPr>
            <p:spPr bwMode="gray">
              <a:xfrm>
                <a:off x="1793876" y="425450"/>
                <a:ext cx="1200150" cy="1196975"/>
              </a:xfrm>
              <a:custGeom>
                <a:avLst/>
                <a:gdLst>
                  <a:gd name="T0" fmla="*/ 320 w 320"/>
                  <a:gd name="T1" fmla="*/ 224 h 319"/>
                  <a:gd name="T2" fmla="*/ 114 w 320"/>
                  <a:gd name="T3" fmla="*/ 18 h 319"/>
                  <a:gd name="T4" fmla="*/ 36 w 320"/>
                  <a:gd name="T5" fmla="*/ 30 h 319"/>
                  <a:gd name="T6" fmla="*/ 31 w 320"/>
                  <a:gd name="T7" fmla="*/ 36 h 319"/>
                  <a:gd name="T8" fmla="*/ 18 w 320"/>
                  <a:gd name="T9" fmla="*/ 113 h 319"/>
                  <a:gd name="T10" fmla="*/ 224 w 320"/>
                  <a:gd name="T11" fmla="*/ 319 h 319"/>
                  <a:gd name="T12" fmla="*/ 320 w 320"/>
                  <a:gd name="T13" fmla="*/ 224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0" h="319">
                    <a:moveTo>
                      <a:pt x="320" y="224"/>
                    </a:moveTo>
                    <a:cubicBezTo>
                      <a:pt x="114" y="18"/>
                      <a:pt x="114" y="18"/>
                      <a:pt x="114" y="18"/>
                    </a:cubicBezTo>
                    <a:cubicBezTo>
                      <a:pt x="96" y="0"/>
                      <a:pt x="61" y="5"/>
                      <a:pt x="36" y="30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6" y="61"/>
                      <a:pt x="0" y="95"/>
                      <a:pt x="18" y="113"/>
                    </a:cubicBezTo>
                    <a:cubicBezTo>
                      <a:pt x="224" y="319"/>
                      <a:pt x="224" y="319"/>
                      <a:pt x="224" y="319"/>
                    </a:cubicBezTo>
                    <a:cubicBezTo>
                      <a:pt x="253" y="285"/>
                      <a:pt x="285" y="253"/>
                      <a:pt x="320" y="2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 64"/>
              <p:cNvSpPr>
                <a:spLocks/>
              </p:cNvSpPr>
              <p:nvPr/>
            </p:nvSpPr>
            <p:spPr bwMode="gray">
              <a:xfrm>
                <a:off x="5656263" y="-384175"/>
                <a:ext cx="927100" cy="1320800"/>
              </a:xfrm>
              <a:custGeom>
                <a:avLst/>
                <a:gdLst>
                  <a:gd name="T0" fmla="*/ 125 w 247"/>
                  <a:gd name="T1" fmla="*/ 352 h 352"/>
                  <a:gd name="T2" fmla="*/ 237 w 247"/>
                  <a:gd name="T3" fmla="*/ 84 h 352"/>
                  <a:gd name="T4" fmla="*/ 196 w 247"/>
                  <a:gd name="T5" fmla="*/ 16 h 352"/>
                  <a:gd name="T6" fmla="*/ 190 w 247"/>
                  <a:gd name="T7" fmla="*/ 14 h 352"/>
                  <a:gd name="T8" fmla="*/ 113 w 247"/>
                  <a:gd name="T9" fmla="*/ 31 h 352"/>
                  <a:gd name="T10" fmla="*/ 0 w 247"/>
                  <a:gd name="T11" fmla="*/ 300 h 352"/>
                  <a:gd name="T12" fmla="*/ 64 w 247"/>
                  <a:gd name="T13" fmla="*/ 323 h 352"/>
                  <a:gd name="T14" fmla="*/ 125 w 247"/>
                  <a:gd name="T15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7" h="352">
                    <a:moveTo>
                      <a:pt x="125" y="352"/>
                    </a:moveTo>
                    <a:cubicBezTo>
                      <a:pt x="237" y="84"/>
                      <a:pt x="237" y="84"/>
                      <a:pt x="237" y="84"/>
                    </a:cubicBezTo>
                    <a:cubicBezTo>
                      <a:pt x="247" y="60"/>
                      <a:pt x="229" y="30"/>
                      <a:pt x="196" y="16"/>
                    </a:cubicBezTo>
                    <a:cubicBezTo>
                      <a:pt x="190" y="14"/>
                      <a:pt x="190" y="14"/>
                      <a:pt x="190" y="14"/>
                    </a:cubicBezTo>
                    <a:cubicBezTo>
                      <a:pt x="157" y="0"/>
                      <a:pt x="123" y="8"/>
                      <a:pt x="113" y="31"/>
                    </a:cubicBezTo>
                    <a:cubicBezTo>
                      <a:pt x="0" y="300"/>
                      <a:pt x="0" y="300"/>
                      <a:pt x="0" y="300"/>
                    </a:cubicBezTo>
                    <a:cubicBezTo>
                      <a:pt x="22" y="307"/>
                      <a:pt x="43" y="315"/>
                      <a:pt x="64" y="323"/>
                    </a:cubicBezTo>
                    <a:cubicBezTo>
                      <a:pt x="85" y="332"/>
                      <a:pt x="105" y="342"/>
                      <a:pt x="125" y="35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 65"/>
              <p:cNvSpPr>
                <a:spLocks/>
              </p:cNvSpPr>
              <p:nvPr/>
            </p:nvSpPr>
            <p:spPr bwMode="gray">
              <a:xfrm>
                <a:off x="3024188" y="5930900"/>
                <a:ext cx="927100" cy="1323975"/>
              </a:xfrm>
              <a:custGeom>
                <a:avLst/>
                <a:gdLst>
                  <a:gd name="T0" fmla="*/ 122 w 247"/>
                  <a:gd name="T1" fmla="*/ 0 h 353"/>
                  <a:gd name="T2" fmla="*/ 9 w 247"/>
                  <a:gd name="T3" fmla="*/ 269 h 353"/>
                  <a:gd name="T4" fmla="*/ 50 w 247"/>
                  <a:gd name="T5" fmla="*/ 336 h 353"/>
                  <a:gd name="T6" fmla="*/ 57 w 247"/>
                  <a:gd name="T7" fmla="*/ 339 h 353"/>
                  <a:gd name="T8" fmla="*/ 134 w 247"/>
                  <a:gd name="T9" fmla="*/ 321 h 353"/>
                  <a:gd name="T10" fmla="*/ 247 w 247"/>
                  <a:gd name="T11" fmla="*/ 52 h 353"/>
                  <a:gd name="T12" fmla="*/ 183 w 247"/>
                  <a:gd name="T13" fmla="*/ 29 h 353"/>
                  <a:gd name="T14" fmla="*/ 122 w 247"/>
                  <a:gd name="T15" fmla="*/ 0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7" h="353">
                    <a:moveTo>
                      <a:pt x="122" y="0"/>
                    </a:moveTo>
                    <a:cubicBezTo>
                      <a:pt x="9" y="269"/>
                      <a:pt x="9" y="269"/>
                      <a:pt x="9" y="269"/>
                    </a:cubicBezTo>
                    <a:cubicBezTo>
                      <a:pt x="0" y="292"/>
                      <a:pt x="18" y="322"/>
                      <a:pt x="50" y="336"/>
                    </a:cubicBezTo>
                    <a:cubicBezTo>
                      <a:pt x="57" y="339"/>
                      <a:pt x="57" y="339"/>
                      <a:pt x="57" y="339"/>
                    </a:cubicBezTo>
                    <a:cubicBezTo>
                      <a:pt x="90" y="353"/>
                      <a:pt x="124" y="345"/>
                      <a:pt x="134" y="321"/>
                    </a:cubicBezTo>
                    <a:cubicBezTo>
                      <a:pt x="247" y="52"/>
                      <a:pt x="247" y="52"/>
                      <a:pt x="247" y="52"/>
                    </a:cubicBezTo>
                    <a:cubicBezTo>
                      <a:pt x="225" y="46"/>
                      <a:pt x="204" y="38"/>
                      <a:pt x="183" y="29"/>
                    </a:cubicBezTo>
                    <a:cubicBezTo>
                      <a:pt x="162" y="20"/>
                      <a:pt x="142" y="11"/>
                      <a:pt x="12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Freeform 67"/>
              <p:cNvSpPr>
                <a:spLocks/>
              </p:cNvSpPr>
              <p:nvPr/>
            </p:nvSpPr>
            <p:spPr bwMode="gray">
              <a:xfrm>
                <a:off x="984251" y="1652587"/>
                <a:ext cx="1323975" cy="925513"/>
              </a:xfrm>
              <a:custGeom>
                <a:avLst/>
                <a:gdLst>
                  <a:gd name="T0" fmla="*/ 353 w 353"/>
                  <a:gd name="T1" fmla="*/ 123 h 247"/>
                  <a:gd name="T2" fmla="*/ 84 w 353"/>
                  <a:gd name="T3" fmla="*/ 10 h 247"/>
                  <a:gd name="T4" fmla="*/ 17 w 353"/>
                  <a:gd name="T5" fmla="*/ 51 h 247"/>
                  <a:gd name="T6" fmla="*/ 14 w 353"/>
                  <a:gd name="T7" fmla="*/ 58 h 247"/>
                  <a:gd name="T8" fmla="*/ 32 w 353"/>
                  <a:gd name="T9" fmla="*/ 135 h 247"/>
                  <a:gd name="T10" fmla="*/ 300 w 353"/>
                  <a:gd name="T11" fmla="*/ 247 h 247"/>
                  <a:gd name="T12" fmla="*/ 324 w 353"/>
                  <a:gd name="T13" fmla="*/ 184 h 247"/>
                  <a:gd name="T14" fmla="*/ 353 w 353"/>
                  <a:gd name="T15" fmla="*/ 123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3" h="247">
                    <a:moveTo>
                      <a:pt x="353" y="123"/>
                    </a:moveTo>
                    <a:cubicBezTo>
                      <a:pt x="84" y="10"/>
                      <a:pt x="84" y="10"/>
                      <a:pt x="84" y="10"/>
                    </a:cubicBezTo>
                    <a:cubicBezTo>
                      <a:pt x="60" y="0"/>
                      <a:pt x="30" y="19"/>
                      <a:pt x="17" y="51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0" y="91"/>
                      <a:pt x="8" y="125"/>
                      <a:pt x="32" y="135"/>
                    </a:cubicBezTo>
                    <a:cubicBezTo>
                      <a:pt x="300" y="247"/>
                      <a:pt x="300" y="247"/>
                      <a:pt x="300" y="247"/>
                    </a:cubicBezTo>
                    <a:cubicBezTo>
                      <a:pt x="307" y="226"/>
                      <a:pt x="315" y="205"/>
                      <a:pt x="324" y="184"/>
                    </a:cubicBezTo>
                    <a:cubicBezTo>
                      <a:pt x="332" y="163"/>
                      <a:pt x="342" y="143"/>
                      <a:pt x="353" y="1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 68"/>
              <p:cNvSpPr>
                <a:spLocks/>
              </p:cNvSpPr>
              <p:nvPr/>
            </p:nvSpPr>
            <p:spPr bwMode="gray">
              <a:xfrm>
                <a:off x="7310438" y="1685925"/>
                <a:ext cx="1323975" cy="919163"/>
              </a:xfrm>
              <a:custGeom>
                <a:avLst/>
                <a:gdLst>
                  <a:gd name="T0" fmla="*/ 51 w 353"/>
                  <a:gd name="T1" fmla="*/ 245 h 245"/>
                  <a:gd name="T2" fmla="*/ 321 w 353"/>
                  <a:gd name="T3" fmla="*/ 134 h 245"/>
                  <a:gd name="T4" fmla="*/ 340 w 353"/>
                  <a:gd name="T5" fmla="*/ 58 h 245"/>
                  <a:gd name="T6" fmla="*/ 337 w 353"/>
                  <a:gd name="T7" fmla="*/ 51 h 245"/>
                  <a:gd name="T8" fmla="*/ 270 w 353"/>
                  <a:gd name="T9" fmla="*/ 9 h 245"/>
                  <a:gd name="T10" fmla="*/ 0 w 353"/>
                  <a:gd name="T11" fmla="*/ 120 h 245"/>
                  <a:gd name="T12" fmla="*/ 51 w 353"/>
                  <a:gd name="T13" fmla="*/ 245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3" h="245">
                    <a:moveTo>
                      <a:pt x="51" y="245"/>
                    </a:moveTo>
                    <a:cubicBezTo>
                      <a:pt x="321" y="134"/>
                      <a:pt x="321" y="134"/>
                      <a:pt x="321" y="134"/>
                    </a:cubicBezTo>
                    <a:cubicBezTo>
                      <a:pt x="345" y="125"/>
                      <a:pt x="353" y="90"/>
                      <a:pt x="340" y="58"/>
                    </a:cubicBezTo>
                    <a:cubicBezTo>
                      <a:pt x="337" y="51"/>
                      <a:pt x="337" y="51"/>
                      <a:pt x="337" y="51"/>
                    </a:cubicBezTo>
                    <a:cubicBezTo>
                      <a:pt x="323" y="18"/>
                      <a:pt x="294" y="0"/>
                      <a:pt x="270" y="9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21" y="160"/>
                      <a:pt x="38" y="202"/>
                      <a:pt x="51" y="24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Freeform 69"/>
              <p:cNvSpPr>
                <a:spLocks/>
              </p:cNvSpPr>
              <p:nvPr/>
            </p:nvSpPr>
            <p:spPr bwMode="gray">
              <a:xfrm>
                <a:off x="973138" y="4267200"/>
                <a:ext cx="1323975" cy="917575"/>
              </a:xfrm>
              <a:custGeom>
                <a:avLst/>
                <a:gdLst>
                  <a:gd name="T0" fmla="*/ 301 w 353"/>
                  <a:gd name="T1" fmla="*/ 0 h 245"/>
                  <a:gd name="T2" fmla="*/ 32 w 353"/>
                  <a:gd name="T3" fmla="*/ 110 h 245"/>
                  <a:gd name="T4" fmla="*/ 13 w 353"/>
                  <a:gd name="T5" fmla="*/ 187 h 245"/>
                  <a:gd name="T6" fmla="*/ 16 w 353"/>
                  <a:gd name="T7" fmla="*/ 194 h 245"/>
                  <a:gd name="T8" fmla="*/ 83 w 353"/>
                  <a:gd name="T9" fmla="*/ 235 h 245"/>
                  <a:gd name="T10" fmla="*/ 353 w 353"/>
                  <a:gd name="T11" fmla="*/ 125 h 245"/>
                  <a:gd name="T12" fmla="*/ 301 w 353"/>
                  <a:gd name="T13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3" h="245">
                    <a:moveTo>
                      <a:pt x="301" y="0"/>
                    </a:moveTo>
                    <a:cubicBezTo>
                      <a:pt x="32" y="110"/>
                      <a:pt x="32" y="110"/>
                      <a:pt x="32" y="110"/>
                    </a:cubicBezTo>
                    <a:cubicBezTo>
                      <a:pt x="8" y="120"/>
                      <a:pt x="0" y="154"/>
                      <a:pt x="13" y="187"/>
                    </a:cubicBezTo>
                    <a:cubicBezTo>
                      <a:pt x="16" y="194"/>
                      <a:pt x="16" y="194"/>
                      <a:pt x="16" y="194"/>
                    </a:cubicBezTo>
                    <a:cubicBezTo>
                      <a:pt x="29" y="226"/>
                      <a:pt x="59" y="245"/>
                      <a:pt x="83" y="235"/>
                    </a:cubicBezTo>
                    <a:cubicBezTo>
                      <a:pt x="353" y="125"/>
                      <a:pt x="353" y="125"/>
                      <a:pt x="353" y="125"/>
                    </a:cubicBezTo>
                    <a:cubicBezTo>
                      <a:pt x="332" y="85"/>
                      <a:pt x="315" y="43"/>
                      <a:pt x="30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Freeform 70"/>
              <p:cNvSpPr>
                <a:spLocks/>
              </p:cNvSpPr>
              <p:nvPr/>
            </p:nvSpPr>
            <p:spPr bwMode="gray">
              <a:xfrm>
                <a:off x="3054351" y="-395288"/>
                <a:ext cx="919163" cy="1320800"/>
              </a:xfrm>
              <a:custGeom>
                <a:avLst/>
                <a:gdLst>
                  <a:gd name="T0" fmla="*/ 245 w 245"/>
                  <a:gd name="T1" fmla="*/ 301 h 352"/>
                  <a:gd name="T2" fmla="*/ 134 w 245"/>
                  <a:gd name="T3" fmla="*/ 32 h 352"/>
                  <a:gd name="T4" fmla="*/ 58 w 245"/>
                  <a:gd name="T5" fmla="*/ 13 h 352"/>
                  <a:gd name="T6" fmla="*/ 51 w 245"/>
                  <a:gd name="T7" fmla="*/ 16 h 352"/>
                  <a:gd name="T8" fmla="*/ 9 w 245"/>
                  <a:gd name="T9" fmla="*/ 83 h 352"/>
                  <a:gd name="T10" fmla="*/ 120 w 245"/>
                  <a:gd name="T11" fmla="*/ 352 h 352"/>
                  <a:gd name="T12" fmla="*/ 245 w 245"/>
                  <a:gd name="T13" fmla="*/ 301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5" h="352">
                    <a:moveTo>
                      <a:pt x="245" y="301"/>
                    </a:moveTo>
                    <a:cubicBezTo>
                      <a:pt x="134" y="32"/>
                      <a:pt x="134" y="32"/>
                      <a:pt x="134" y="32"/>
                    </a:cubicBezTo>
                    <a:cubicBezTo>
                      <a:pt x="125" y="8"/>
                      <a:pt x="91" y="0"/>
                      <a:pt x="58" y="13"/>
                    </a:cubicBezTo>
                    <a:cubicBezTo>
                      <a:pt x="51" y="16"/>
                      <a:pt x="51" y="16"/>
                      <a:pt x="51" y="16"/>
                    </a:cubicBezTo>
                    <a:cubicBezTo>
                      <a:pt x="18" y="29"/>
                      <a:pt x="0" y="59"/>
                      <a:pt x="9" y="83"/>
                    </a:cubicBezTo>
                    <a:cubicBezTo>
                      <a:pt x="120" y="352"/>
                      <a:pt x="120" y="352"/>
                      <a:pt x="120" y="352"/>
                    </a:cubicBezTo>
                    <a:cubicBezTo>
                      <a:pt x="160" y="332"/>
                      <a:pt x="202" y="315"/>
                      <a:pt x="245" y="30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8" name="Freeform 207"/>
            <p:cNvSpPr>
              <a:spLocks/>
            </p:cNvSpPr>
            <p:nvPr/>
          </p:nvSpPr>
          <p:spPr bwMode="gray">
            <a:xfrm>
              <a:off x="5113423" y="2147638"/>
              <a:ext cx="840231" cy="179832"/>
            </a:xfrm>
            <a:custGeom>
              <a:avLst/>
              <a:gdLst>
                <a:gd name="T0" fmla="*/ 827 w 827"/>
                <a:gd name="T1" fmla="*/ 54 h 177"/>
                <a:gd name="T2" fmla="*/ 827 w 827"/>
                <a:gd name="T3" fmla="*/ 0 h 177"/>
                <a:gd name="T4" fmla="*/ 0 w 827"/>
                <a:gd name="T5" fmla="*/ 0 h 177"/>
                <a:gd name="T6" fmla="*/ 0 w 827"/>
                <a:gd name="T7" fmla="*/ 54 h 177"/>
                <a:gd name="T8" fmla="*/ 369 w 827"/>
                <a:gd name="T9" fmla="*/ 54 h 177"/>
                <a:gd name="T10" fmla="*/ 369 w 827"/>
                <a:gd name="T11" fmla="*/ 120 h 177"/>
                <a:gd name="T12" fmla="*/ 298 w 827"/>
                <a:gd name="T13" fmla="*/ 120 h 177"/>
                <a:gd name="T14" fmla="*/ 298 w 827"/>
                <a:gd name="T15" fmla="*/ 177 h 177"/>
                <a:gd name="T16" fmla="*/ 529 w 827"/>
                <a:gd name="T17" fmla="*/ 177 h 177"/>
                <a:gd name="T18" fmla="*/ 529 w 827"/>
                <a:gd name="T19" fmla="*/ 120 h 177"/>
                <a:gd name="T20" fmla="*/ 458 w 827"/>
                <a:gd name="T21" fmla="*/ 120 h 177"/>
                <a:gd name="T22" fmla="*/ 458 w 827"/>
                <a:gd name="T23" fmla="*/ 54 h 177"/>
                <a:gd name="T24" fmla="*/ 827 w 827"/>
                <a:gd name="T25" fmla="*/ 54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7" h="177">
                  <a:moveTo>
                    <a:pt x="827" y="54"/>
                  </a:moveTo>
                  <a:lnTo>
                    <a:pt x="827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369" y="54"/>
                  </a:lnTo>
                  <a:lnTo>
                    <a:pt x="369" y="120"/>
                  </a:lnTo>
                  <a:lnTo>
                    <a:pt x="298" y="120"/>
                  </a:lnTo>
                  <a:lnTo>
                    <a:pt x="298" y="177"/>
                  </a:lnTo>
                  <a:lnTo>
                    <a:pt x="529" y="177"/>
                  </a:lnTo>
                  <a:lnTo>
                    <a:pt x="529" y="120"/>
                  </a:lnTo>
                  <a:lnTo>
                    <a:pt x="458" y="120"/>
                  </a:lnTo>
                  <a:lnTo>
                    <a:pt x="458" y="54"/>
                  </a:lnTo>
                  <a:lnTo>
                    <a:pt x="827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208"/>
            <p:cNvSpPr>
              <a:spLocks/>
            </p:cNvSpPr>
            <p:nvPr/>
          </p:nvSpPr>
          <p:spPr bwMode="gray">
            <a:xfrm>
              <a:off x="5541159" y="1809310"/>
              <a:ext cx="174752" cy="61976"/>
            </a:xfrm>
            <a:custGeom>
              <a:avLst/>
              <a:gdLst>
                <a:gd name="T0" fmla="*/ 172 w 172"/>
                <a:gd name="T1" fmla="*/ 61 h 61"/>
                <a:gd name="T2" fmla="*/ 158 w 172"/>
                <a:gd name="T3" fmla="*/ 0 h 61"/>
                <a:gd name="T4" fmla="*/ 0 w 172"/>
                <a:gd name="T5" fmla="*/ 0 h 61"/>
                <a:gd name="T6" fmla="*/ 0 w 172"/>
                <a:gd name="T7" fmla="*/ 61 h 61"/>
                <a:gd name="T8" fmla="*/ 172 w 172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61">
                  <a:moveTo>
                    <a:pt x="172" y="61"/>
                  </a:moveTo>
                  <a:lnTo>
                    <a:pt x="158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72" y="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209"/>
            <p:cNvSpPr>
              <a:spLocks/>
            </p:cNvSpPr>
            <p:nvPr/>
          </p:nvSpPr>
          <p:spPr bwMode="gray">
            <a:xfrm>
              <a:off x="5538111" y="1885510"/>
              <a:ext cx="211328" cy="115824"/>
            </a:xfrm>
            <a:custGeom>
              <a:avLst/>
              <a:gdLst>
                <a:gd name="T0" fmla="*/ 0 w 208"/>
                <a:gd name="T1" fmla="*/ 114 h 114"/>
                <a:gd name="T2" fmla="*/ 208 w 208"/>
                <a:gd name="T3" fmla="*/ 114 h 114"/>
                <a:gd name="T4" fmla="*/ 180 w 208"/>
                <a:gd name="T5" fmla="*/ 0 h 114"/>
                <a:gd name="T6" fmla="*/ 3 w 208"/>
                <a:gd name="T7" fmla="*/ 0 h 114"/>
                <a:gd name="T8" fmla="*/ 0 w 208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8" h="114">
                  <a:moveTo>
                    <a:pt x="0" y="114"/>
                  </a:moveTo>
                  <a:lnTo>
                    <a:pt x="208" y="114"/>
                  </a:lnTo>
                  <a:lnTo>
                    <a:pt x="180" y="0"/>
                  </a:lnTo>
                  <a:lnTo>
                    <a:pt x="3" y="0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210"/>
            <p:cNvSpPr>
              <a:spLocks/>
            </p:cNvSpPr>
            <p:nvPr/>
          </p:nvSpPr>
          <p:spPr bwMode="gray">
            <a:xfrm>
              <a:off x="5723022" y="1809310"/>
              <a:ext cx="135128" cy="61976"/>
            </a:xfrm>
            <a:custGeom>
              <a:avLst/>
              <a:gdLst>
                <a:gd name="T0" fmla="*/ 133 w 133"/>
                <a:gd name="T1" fmla="*/ 61 h 61"/>
                <a:gd name="T2" fmla="*/ 114 w 133"/>
                <a:gd name="T3" fmla="*/ 0 h 61"/>
                <a:gd name="T4" fmla="*/ 0 w 133"/>
                <a:gd name="T5" fmla="*/ 0 h 61"/>
                <a:gd name="T6" fmla="*/ 17 w 133"/>
                <a:gd name="T7" fmla="*/ 61 h 61"/>
                <a:gd name="T8" fmla="*/ 133 w 133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61">
                  <a:moveTo>
                    <a:pt x="133" y="61"/>
                  </a:moveTo>
                  <a:lnTo>
                    <a:pt x="114" y="0"/>
                  </a:lnTo>
                  <a:lnTo>
                    <a:pt x="0" y="0"/>
                  </a:lnTo>
                  <a:lnTo>
                    <a:pt x="17" y="61"/>
                  </a:lnTo>
                  <a:lnTo>
                    <a:pt x="133" y="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 211"/>
            <p:cNvSpPr>
              <a:spLocks/>
            </p:cNvSpPr>
            <p:nvPr/>
          </p:nvSpPr>
          <p:spPr bwMode="gray">
            <a:xfrm>
              <a:off x="5742326" y="1885510"/>
              <a:ext cx="153416" cy="115824"/>
            </a:xfrm>
            <a:custGeom>
              <a:avLst/>
              <a:gdLst>
                <a:gd name="T0" fmla="*/ 28 w 151"/>
                <a:gd name="T1" fmla="*/ 114 h 114"/>
                <a:gd name="T2" fmla="*/ 151 w 151"/>
                <a:gd name="T3" fmla="*/ 114 h 114"/>
                <a:gd name="T4" fmla="*/ 118 w 151"/>
                <a:gd name="T5" fmla="*/ 0 h 114"/>
                <a:gd name="T6" fmla="*/ 0 w 151"/>
                <a:gd name="T7" fmla="*/ 0 h 114"/>
                <a:gd name="T8" fmla="*/ 28 w 151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114">
                  <a:moveTo>
                    <a:pt x="28" y="114"/>
                  </a:moveTo>
                  <a:lnTo>
                    <a:pt x="151" y="114"/>
                  </a:lnTo>
                  <a:lnTo>
                    <a:pt x="118" y="0"/>
                  </a:lnTo>
                  <a:lnTo>
                    <a:pt x="0" y="0"/>
                  </a:lnTo>
                  <a:lnTo>
                    <a:pt x="2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212"/>
            <p:cNvSpPr>
              <a:spLocks/>
            </p:cNvSpPr>
            <p:nvPr/>
          </p:nvSpPr>
          <p:spPr bwMode="gray">
            <a:xfrm>
              <a:off x="5159144" y="1885510"/>
              <a:ext cx="160528" cy="115824"/>
            </a:xfrm>
            <a:custGeom>
              <a:avLst/>
              <a:gdLst>
                <a:gd name="T0" fmla="*/ 158 w 158"/>
                <a:gd name="T1" fmla="*/ 0 h 114"/>
                <a:gd name="T2" fmla="*/ 38 w 158"/>
                <a:gd name="T3" fmla="*/ 0 h 114"/>
                <a:gd name="T4" fmla="*/ 0 w 158"/>
                <a:gd name="T5" fmla="*/ 114 h 114"/>
                <a:gd name="T6" fmla="*/ 128 w 158"/>
                <a:gd name="T7" fmla="*/ 114 h 114"/>
                <a:gd name="T8" fmla="*/ 158 w 158"/>
                <a:gd name="T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14">
                  <a:moveTo>
                    <a:pt x="158" y="0"/>
                  </a:moveTo>
                  <a:lnTo>
                    <a:pt x="38" y="0"/>
                  </a:lnTo>
                  <a:lnTo>
                    <a:pt x="0" y="114"/>
                  </a:lnTo>
                  <a:lnTo>
                    <a:pt x="128" y="114"/>
                  </a:lnTo>
                  <a:lnTo>
                    <a:pt x="15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213"/>
            <p:cNvSpPr>
              <a:spLocks/>
            </p:cNvSpPr>
            <p:nvPr/>
          </p:nvSpPr>
          <p:spPr bwMode="gray">
            <a:xfrm>
              <a:off x="5202831" y="1809310"/>
              <a:ext cx="136144" cy="61976"/>
            </a:xfrm>
            <a:custGeom>
              <a:avLst/>
              <a:gdLst>
                <a:gd name="T0" fmla="*/ 134 w 134"/>
                <a:gd name="T1" fmla="*/ 0 h 61"/>
                <a:gd name="T2" fmla="*/ 18 w 134"/>
                <a:gd name="T3" fmla="*/ 0 h 61"/>
                <a:gd name="T4" fmla="*/ 0 w 134"/>
                <a:gd name="T5" fmla="*/ 61 h 61"/>
                <a:gd name="T6" fmla="*/ 118 w 134"/>
                <a:gd name="T7" fmla="*/ 61 h 61"/>
                <a:gd name="T8" fmla="*/ 134 w 134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61">
                  <a:moveTo>
                    <a:pt x="134" y="0"/>
                  </a:moveTo>
                  <a:lnTo>
                    <a:pt x="18" y="0"/>
                  </a:lnTo>
                  <a:lnTo>
                    <a:pt x="0" y="61"/>
                  </a:lnTo>
                  <a:lnTo>
                    <a:pt x="118" y="61"/>
                  </a:lnTo>
                  <a:lnTo>
                    <a:pt x="13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214"/>
            <p:cNvSpPr>
              <a:spLocks/>
            </p:cNvSpPr>
            <p:nvPr/>
          </p:nvSpPr>
          <p:spPr bwMode="gray">
            <a:xfrm>
              <a:off x="5118504" y="2015558"/>
              <a:ext cx="165608" cy="107696"/>
            </a:xfrm>
            <a:custGeom>
              <a:avLst/>
              <a:gdLst>
                <a:gd name="T0" fmla="*/ 35 w 163"/>
                <a:gd name="T1" fmla="*/ 0 h 106"/>
                <a:gd name="T2" fmla="*/ 0 w 163"/>
                <a:gd name="T3" fmla="*/ 106 h 106"/>
                <a:gd name="T4" fmla="*/ 135 w 163"/>
                <a:gd name="T5" fmla="*/ 106 h 106"/>
                <a:gd name="T6" fmla="*/ 163 w 163"/>
                <a:gd name="T7" fmla="*/ 0 h 106"/>
                <a:gd name="T8" fmla="*/ 35 w 163"/>
                <a:gd name="T9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" h="106">
                  <a:moveTo>
                    <a:pt x="35" y="0"/>
                  </a:moveTo>
                  <a:lnTo>
                    <a:pt x="0" y="106"/>
                  </a:lnTo>
                  <a:lnTo>
                    <a:pt x="135" y="106"/>
                  </a:lnTo>
                  <a:lnTo>
                    <a:pt x="163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215"/>
            <p:cNvSpPr>
              <a:spLocks/>
            </p:cNvSpPr>
            <p:nvPr/>
          </p:nvSpPr>
          <p:spPr bwMode="gray">
            <a:xfrm>
              <a:off x="5346087" y="1809310"/>
              <a:ext cx="172720" cy="61976"/>
            </a:xfrm>
            <a:custGeom>
              <a:avLst/>
              <a:gdLst>
                <a:gd name="T0" fmla="*/ 170 w 170"/>
                <a:gd name="T1" fmla="*/ 61 h 61"/>
                <a:gd name="T2" fmla="*/ 170 w 170"/>
                <a:gd name="T3" fmla="*/ 0 h 61"/>
                <a:gd name="T4" fmla="*/ 17 w 170"/>
                <a:gd name="T5" fmla="*/ 0 h 61"/>
                <a:gd name="T6" fmla="*/ 0 w 170"/>
                <a:gd name="T7" fmla="*/ 61 h 61"/>
                <a:gd name="T8" fmla="*/ 170 w 170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61">
                  <a:moveTo>
                    <a:pt x="170" y="61"/>
                  </a:moveTo>
                  <a:lnTo>
                    <a:pt x="170" y="0"/>
                  </a:lnTo>
                  <a:lnTo>
                    <a:pt x="17" y="0"/>
                  </a:lnTo>
                  <a:lnTo>
                    <a:pt x="0" y="61"/>
                  </a:lnTo>
                  <a:lnTo>
                    <a:pt x="170" y="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216"/>
            <p:cNvSpPr>
              <a:spLocks/>
            </p:cNvSpPr>
            <p:nvPr/>
          </p:nvSpPr>
          <p:spPr bwMode="gray">
            <a:xfrm>
              <a:off x="5773822" y="2015558"/>
              <a:ext cx="160528" cy="107696"/>
            </a:xfrm>
            <a:custGeom>
              <a:avLst/>
              <a:gdLst>
                <a:gd name="T0" fmla="*/ 26 w 158"/>
                <a:gd name="T1" fmla="*/ 106 h 106"/>
                <a:gd name="T2" fmla="*/ 158 w 158"/>
                <a:gd name="T3" fmla="*/ 106 h 106"/>
                <a:gd name="T4" fmla="*/ 125 w 158"/>
                <a:gd name="T5" fmla="*/ 0 h 106"/>
                <a:gd name="T6" fmla="*/ 0 w 158"/>
                <a:gd name="T7" fmla="*/ 0 h 106"/>
                <a:gd name="T8" fmla="*/ 26 w 158"/>
                <a:gd name="T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06">
                  <a:moveTo>
                    <a:pt x="26" y="106"/>
                  </a:moveTo>
                  <a:lnTo>
                    <a:pt x="158" y="106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26" y="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217"/>
            <p:cNvSpPr>
              <a:spLocks/>
            </p:cNvSpPr>
            <p:nvPr/>
          </p:nvSpPr>
          <p:spPr bwMode="gray">
            <a:xfrm>
              <a:off x="5538111" y="2015558"/>
              <a:ext cx="240792" cy="107696"/>
            </a:xfrm>
            <a:custGeom>
              <a:avLst/>
              <a:gdLst>
                <a:gd name="T0" fmla="*/ 0 w 237"/>
                <a:gd name="T1" fmla="*/ 0 h 106"/>
                <a:gd name="T2" fmla="*/ 0 w 237"/>
                <a:gd name="T3" fmla="*/ 106 h 106"/>
                <a:gd name="T4" fmla="*/ 237 w 237"/>
                <a:gd name="T5" fmla="*/ 106 h 106"/>
                <a:gd name="T6" fmla="*/ 211 w 237"/>
                <a:gd name="T7" fmla="*/ 0 h 106"/>
                <a:gd name="T8" fmla="*/ 0 w 237"/>
                <a:gd name="T9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06">
                  <a:moveTo>
                    <a:pt x="0" y="0"/>
                  </a:moveTo>
                  <a:lnTo>
                    <a:pt x="0" y="106"/>
                  </a:lnTo>
                  <a:lnTo>
                    <a:pt x="237" y="106"/>
                  </a:lnTo>
                  <a:lnTo>
                    <a:pt x="21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218"/>
            <p:cNvSpPr>
              <a:spLocks/>
            </p:cNvSpPr>
            <p:nvPr/>
          </p:nvSpPr>
          <p:spPr bwMode="gray">
            <a:xfrm>
              <a:off x="5276999" y="2015558"/>
              <a:ext cx="239775" cy="107696"/>
            </a:xfrm>
            <a:custGeom>
              <a:avLst/>
              <a:gdLst>
                <a:gd name="T0" fmla="*/ 28 w 236"/>
                <a:gd name="T1" fmla="*/ 0 h 106"/>
                <a:gd name="T2" fmla="*/ 0 w 236"/>
                <a:gd name="T3" fmla="*/ 106 h 106"/>
                <a:gd name="T4" fmla="*/ 236 w 236"/>
                <a:gd name="T5" fmla="*/ 106 h 106"/>
                <a:gd name="T6" fmla="*/ 236 w 236"/>
                <a:gd name="T7" fmla="*/ 0 h 106"/>
                <a:gd name="T8" fmla="*/ 28 w 236"/>
                <a:gd name="T9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6" h="106">
                  <a:moveTo>
                    <a:pt x="28" y="0"/>
                  </a:moveTo>
                  <a:lnTo>
                    <a:pt x="0" y="106"/>
                  </a:lnTo>
                  <a:lnTo>
                    <a:pt x="236" y="106"/>
                  </a:lnTo>
                  <a:lnTo>
                    <a:pt x="236" y="0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219"/>
            <p:cNvSpPr>
              <a:spLocks/>
            </p:cNvSpPr>
            <p:nvPr/>
          </p:nvSpPr>
          <p:spPr bwMode="gray">
            <a:xfrm>
              <a:off x="5310527" y="1885510"/>
              <a:ext cx="208280" cy="115824"/>
            </a:xfrm>
            <a:custGeom>
              <a:avLst/>
              <a:gdLst>
                <a:gd name="T0" fmla="*/ 0 w 205"/>
                <a:gd name="T1" fmla="*/ 114 h 114"/>
                <a:gd name="T2" fmla="*/ 203 w 205"/>
                <a:gd name="T3" fmla="*/ 114 h 114"/>
                <a:gd name="T4" fmla="*/ 205 w 205"/>
                <a:gd name="T5" fmla="*/ 0 h 114"/>
                <a:gd name="T6" fmla="*/ 31 w 205"/>
                <a:gd name="T7" fmla="*/ 0 h 114"/>
                <a:gd name="T8" fmla="*/ 0 w 205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114">
                  <a:moveTo>
                    <a:pt x="0" y="114"/>
                  </a:moveTo>
                  <a:lnTo>
                    <a:pt x="203" y="114"/>
                  </a:lnTo>
                  <a:lnTo>
                    <a:pt x="205" y="0"/>
                  </a:lnTo>
                  <a:lnTo>
                    <a:pt x="31" y="0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233"/>
            <p:cNvSpPr>
              <a:spLocks/>
            </p:cNvSpPr>
            <p:nvPr/>
          </p:nvSpPr>
          <p:spPr bwMode="gray">
            <a:xfrm>
              <a:off x="5240424" y="1547182"/>
              <a:ext cx="10160" cy="3048"/>
            </a:xfrm>
            <a:custGeom>
              <a:avLst/>
              <a:gdLst>
                <a:gd name="T0" fmla="*/ 4 w 4"/>
                <a:gd name="T1" fmla="*/ 1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3" y="1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6" name="Group 45"/>
          <p:cNvGrpSpPr>
            <a:grpSpLocks noChangeAspect="1"/>
          </p:cNvGrpSpPr>
          <p:nvPr/>
        </p:nvGrpSpPr>
        <p:grpSpPr>
          <a:xfrm>
            <a:off x="453349" y="5562749"/>
            <a:ext cx="497623" cy="446320"/>
            <a:chOff x="2063750" y="1938944"/>
            <a:chExt cx="632228" cy="567048"/>
          </a:xfrm>
          <a:solidFill>
            <a:srgbClr val="CB225B"/>
          </a:solidFill>
        </p:grpSpPr>
        <p:grpSp>
          <p:nvGrpSpPr>
            <p:cNvPr id="47" name="Group 46"/>
            <p:cNvGrpSpPr/>
            <p:nvPr/>
          </p:nvGrpSpPr>
          <p:grpSpPr>
            <a:xfrm>
              <a:off x="2063750" y="1938944"/>
              <a:ext cx="632228" cy="567048"/>
              <a:chOff x="581025" y="3664706"/>
              <a:chExt cx="1270000" cy="1139071"/>
            </a:xfrm>
            <a:grpFill/>
          </p:grpSpPr>
          <p:grpSp>
            <p:nvGrpSpPr>
              <p:cNvPr id="49" name="Group 48"/>
              <p:cNvGrpSpPr/>
              <p:nvPr/>
            </p:nvGrpSpPr>
            <p:grpSpPr>
              <a:xfrm>
                <a:off x="581025" y="4016377"/>
                <a:ext cx="1270000" cy="787400"/>
                <a:chOff x="581025" y="4016377"/>
                <a:chExt cx="1270000" cy="787400"/>
              </a:xfrm>
              <a:grpFill/>
            </p:grpSpPr>
            <p:sp>
              <p:nvSpPr>
                <p:cNvPr id="51" name="Freeform 163"/>
                <p:cNvSpPr>
                  <a:spLocks/>
                </p:cNvSpPr>
                <p:nvPr/>
              </p:nvSpPr>
              <p:spPr bwMode="auto">
                <a:xfrm>
                  <a:off x="581025" y="4016377"/>
                  <a:ext cx="606425" cy="787400"/>
                </a:xfrm>
                <a:custGeom>
                  <a:avLst/>
                  <a:gdLst>
                    <a:gd name="T0" fmla="*/ 160 w 1910"/>
                    <a:gd name="T1" fmla="*/ 31 h 2478"/>
                    <a:gd name="T2" fmla="*/ 210 w 1910"/>
                    <a:gd name="T3" fmla="*/ 132 h 2478"/>
                    <a:gd name="T4" fmla="*/ 233 w 1910"/>
                    <a:gd name="T5" fmla="*/ 287 h 2478"/>
                    <a:gd name="T6" fmla="*/ 242 w 1910"/>
                    <a:gd name="T7" fmla="*/ 371 h 2478"/>
                    <a:gd name="T8" fmla="*/ 256 w 1910"/>
                    <a:gd name="T9" fmla="*/ 501 h 2478"/>
                    <a:gd name="T10" fmla="*/ 269 w 1910"/>
                    <a:gd name="T11" fmla="*/ 615 h 2478"/>
                    <a:gd name="T12" fmla="*/ 255 w 1910"/>
                    <a:gd name="T13" fmla="*/ 656 h 2478"/>
                    <a:gd name="T14" fmla="*/ 190 w 1910"/>
                    <a:gd name="T15" fmla="*/ 694 h 2478"/>
                    <a:gd name="T16" fmla="*/ 173 w 1910"/>
                    <a:gd name="T17" fmla="*/ 769 h 2478"/>
                    <a:gd name="T18" fmla="*/ 241 w 1910"/>
                    <a:gd name="T19" fmla="*/ 878 h 2478"/>
                    <a:gd name="T20" fmla="*/ 412 w 1910"/>
                    <a:gd name="T21" fmla="*/ 1111 h 2478"/>
                    <a:gd name="T22" fmla="*/ 455 w 1910"/>
                    <a:gd name="T23" fmla="*/ 1176 h 2478"/>
                    <a:gd name="T24" fmla="*/ 521 w 1910"/>
                    <a:gd name="T25" fmla="*/ 1224 h 2478"/>
                    <a:gd name="T26" fmla="*/ 589 w 1910"/>
                    <a:gd name="T27" fmla="*/ 1267 h 2478"/>
                    <a:gd name="T28" fmla="*/ 575 w 1910"/>
                    <a:gd name="T29" fmla="*/ 1241 h 2478"/>
                    <a:gd name="T30" fmla="*/ 491 w 1910"/>
                    <a:gd name="T31" fmla="*/ 1155 h 2478"/>
                    <a:gd name="T32" fmla="*/ 450 w 1910"/>
                    <a:gd name="T33" fmla="*/ 1098 h 2478"/>
                    <a:gd name="T34" fmla="*/ 398 w 1910"/>
                    <a:gd name="T35" fmla="*/ 1022 h 2478"/>
                    <a:gd name="T36" fmla="*/ 326 w 1910"/>
                    <a:gd name="T37" fmla="*/ 923 h 2478"/>
                    <a:gd name="T38" fmla="*/ 263 w 1910"/>
                    <a:gd name="T39" fmla="*/ 834 h 2478"/>
                    <a:gd name="T40" fmla="*/ 234 w 1910"/>
                    <a:gd name="T41" fmla="*/ 797 h 2478"/>
                    <a:gd name="T42" fmla="*/ 219 w 1910"/>
                    <a:gd name="T43" fmla="*/ 734 h 2478"/>
                    <a:gd name="T44" fmla="*/ 263 w 1910"/>
                    <a:gd name="T45" fmla="*/ 701 h 2478"/>
                    <a:gd name="T46" fmla="*/ 321 w 1910"/>
                    <a:gd name="T47" fmla="*/ 695 h 2478"/>
                    <a:gd name="T48" fmla="*/ 368 w 1910"/>
                    <a:gd name="T49" fmla="*/ 709 h 2478"/>
                    <a:gd name="T50" fmla="*/ 481 w 1910"/>
                    <a:gd name="T51" fmla="*/ 767 h 2478"/>
                    <a:gd name="T52" fmla="*/ 648 w 1910"/>
                    <a:gd name="T53" fmla="*/ 909 h 2478"/>
                    <a:gd name="T54" fmla="*/ 785 w 1910"/>
                    <a:gd name="T55" fmla="*/ 1077 h 2478"/>
                    <a:gd name="T56" fmla="*/ 874 w 1910"/>
                    <a:gd name="T57" fmla="*/ 1165 h 2478"/>
                    <a:gd name="T58" fmla="*/ 959 w 1910"/>
                    <a:gd name="T59" fmla="*/ 1210 h 2478"/>
                    <a:gd name="T60" fmla="*/ 1217 w 1910"/>
                    <a:gd name="T61" fmla="*/ 1244 h 2478"/>
                    <a:gd name="T62" fmla="*/ 1383 w 1910"/>
                    <a:gd name="T63" fmla="*/ 1292 h 2478"/>
                    <a:gd name="T64" fmla="*/ 1474 w 1910"/>
                    <a:gd name="T65" fmla="*/ 1336 h 2478"/>
                    <a:gd name="T66" fmla="*/ 1508 w 1910"/>
                    <a:gd name="T67" fmla="*/ 1360 h 2478"/>
                    <a:gd name="T68" fmla="*/ 1583 w 1910"/>
                    <a:gd name="T69" fmla="*/ 1422 h 2478"/>
                    <a:gd name="T70" fmla="*/ 1697 w 1910"/>
                    <a:gd name="T71" fmla="*/ 1541 h 2478"/>
                    <a:gd name="T72" fmla="*/ 1816 w 1910"/>
                    <a:gd name="T73" fmla="*/ 1713 h 2478"/>
                    <a:gd name="T74" fmla="*/ 1899 w 1910"/>
                    <a:gd name="T75" fmla="*/ 1937 h 2478"/>
                    <a:gd name="T76" fmla="*/ 1910 w 1910"/>
                    <a:gd name="T77" fmla="*/ 2035 h 2478"/>
                    <a:gd name="T78" fmla="*/ 1896 w 1910"/>
                    <a:gd name="T79" fmla="*/ 2180 h 2478"/>
                    <a:gd name="T80" fmla="*/ 1212 w 1910"/>
                    <a:gd name="T81" fmla="*/ 2223 h 2478"/>
                    <a:gd name="T82" fmla="*/ 1176 w 1910"/>
                    <a:gd name="T83" fmla="*/ 2108 h 2478"/>
                    <a:gd name="T84" fmla="*/ 1109 w 1910"/>
                    <a:gd name="T85" fmla="*/ 2028 h 2478"/>
                    <a:gd name="T86" fmla="*/ 1072 w 1910"/>
                    <a:gd name="T87" fmla="*/ 1997 h 2478"/>
                    <a:gd name="T88" fmla="*/ 1008 w 1910"/>
                    <a:gd name="T89" fmla="*/ 1960 h 2478"/>
                    <a:gd name="T90" fmla="*/ 885 w 1910"/>
                    <a:gd name="T91" fmla="*/ 1886 h 2478"/>
                    <a:gd name="T92" fmla="*/ 730 w 1910"/>
                    <a:gd name="T93" fmla="*/ 1793 h 2478"/>
                    <a:gd name="T94" fmla="*/ 572 w 1910"/>
                    <a:gd name="T95" fmla="*/ 1694 h 2478"/>
                    <a:gd name="T96" fmla="*/ 441 w 1910"/>
                    <a:gd name="T97" fmla="*/ 1604 h 2478"/>
                    <a:gd name="T98" fmla="*/ 366 w 1910"/>
                    <a:gd name="T99" fmla="*/ 1541 h 2478"/>
                    <a:gd name="T100" fmla="*/ 308 w 1910"/>
                    <a:gd name="T101" fmla="*/ 1449 h 2478"/>
                    <a:gd name="T102" fmla="*/ 230 w 1910"/>
                    <a:gd name="T103" fmla="*/ 1295 h 2478"/>
                    <a:gd name="T104" fmla="*/ 145 w 1910"/>
                    <a:gd name="T105" fmla="*/ 1113 h 2478"/>
                    <a:gd name="T106" fmla="*/ 69 w 1910"/>
                    <a:gd name="T107" fmla="*/ 935 h 2478"/>
                    <a:gd name="T108" fmla="*/ 16 w 1910"/>
                    <a:gd name="T109" fmla="*/ 795 h 2478"/>
                    <a:gd name="T110" fmla="*/ 0 w 1910"/>
                    <a:gd name="T111" fmla="*/ 702 h 2478"/>
                    <a:gd name="T112" fmla="*/ 4 w 1910"/>
                    <a:gd name="T113" fmla="*/ 540 h 2478"/>
                    <a:gd name="T114" fmla="*/ 15 w 1910"/>
                    <a:gd name="T115" fmla="*/ 369 h 2478"/>
                    <a:gd name="T116" fmla="*/ 25 w 1910"/>
                    <a:gd name="T117" fmla="*/ 243 h 2478"/>
                    <a:gd name="T118" fmla="*/ 32 w 1910"/>
                    <a:gd name="T119" fmla="*/ 182 h 2478"/>
                    <a:gd name="T120" fmla="*/ 47 w 1910"/>
                    <a:gd name="T121" fmla="*/ 68 h 2478"/>
                    <a:gd name="T122" fmla="*/ 76 w 1910"/>
                    <a:gd name="T123" fmla="*/ 5 h 24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910" h="2478">
                      <a:moveTo>
                        <a:pt x="103" y="0"/>
                      </a:moveTo>
                      <a:lnTo>
                        <a:pt x="118" y="4"/>
                      </a:lnTo>
                      <a:lnTo>
                        <a:pt x="141" y="15"/>
                      </a:lnTo>
                      <a:lnTo>
                        <a:pt x="160" y="31"/>
                      </a:lnTo>
                      <a:lnTo>
                        <a:pt x="177" y="50"/>
                      </a:lnTo>
                      <a:lnTo>
                        <a:pt x="190" y="74"/>
                      </a:lnTo>
                      <a:lnTo>
                        <a:pt x="201" y="102"/>
                      </a:lnTo>
                      <a:lnTo>
                        <a:pt x="210" y="132"/>
                      </a:lnTo>
                      <a:lnTo>
                        <a:pt x="217" y="167"/>
                      </a:lnTo>
                      <a:lnTo>
                        <a:pt x="223" y="204"/>
                      </a:lnTo>
                      <a:lnTo>
                        <a:pt x="228" y="245"/>
                      </a:lnTo>
                      <a:lnTo>
                        <a:pt x="233" y="287"/>
                      </a:lnTo>
                      <a:lnTo>
                        <a:pt x="234" y="301"/>
                      </a:lnTo>
                      <a:lnTo>
                        <a:pt x="236" y="319"/>
                      </a:lnTo>
                      <a:lnTo>
                        <a:pt x="239" y="343"/>
                      </a:lnTo>
                      <a:lnTo>
                        <a:pt x="242" y="371"/>
                      </a:lnTo>
                      <a:lnTo>
                        <a:pt x="245" y="401"/>
                      </a:lnTo>
                      <a:lnTo>
                        <a:pt x="248" y="434"/>
                      </a:lnTo>
                      <a:lnTo>
                        <a:pt x="252" y="468"/>
                      </a:lnTo>
                      <a:lnTo>
                        <a:pt x="256" y="501"/>
                      </a:lnTo>
                      <a:lnTo>
                        <a:pt x="259" y="534"/>
                      </a:lnTo>
                      <a:lnTo>
                        <a:pt x="263" y="564"/>
                      </a:lnTo>
                      <a:lnTo>
                        <a:pt x="265" y="591"/>
                      </a:lnTo>
                      <a:lnTo>
                        <a:pt x="269" y="615"/>
                      </a:lnTo>
                      <a:lnTo>
                        <a:pt x="270" y="633"/>
                      </a:lnTo>
                      <a:lnTo>
                        <a:pt x="273" y="646"/>
                      </a:lnTo>
                      <a:lnTo>
                        <a:pt x="274" y="652"/>
                      </a:lnTo>
                      <a:lnTo>
                        <a:pt x="255" y="656"/>
                      </a:lnTo>
                      <a:lnTo>
                        <a:pt x="236" y="661"/>
                      </a:lnTo>
                      <a:lnTo>
                        <a:pt x="219" y="669"/>
                      </a:lnTo>
                      <a:lnTo>
                        <a:pt x="204" y="680"/>
                      </a:lnTo>
                      <a:lnTo>
                        <a:pt x="190" y="694"/>
                      </a:lnTo>
                      <a:lnTo>
                        <a:pt x="181" y="709"/>
                      </a:lnTo>
                      <a:lnTo>
                        <a:pt x="173" y="727"/>
                      </a:lnTo>
                      <a:lnTo>
                        <a:pt x="171" y="747"/>
                      </a:lnTo>
                      <a:lnTo>
                        <a:pt x="173" y="769"/>
                      </a:lnTo>
                      <a:lnTo>
                        <a:pt x="182" y="793"/>
                      </a:lnTo>
                      <a:lnTo>
                        <a:pt x="195" y="820"/>
                      </a:lnTo>
                      <a:lnTo>
                        <a:pt x="217" y="849"/>
                      </a:lnTo>
                      <a:lnTo>
                        <a:pt x="241" y="878"/>
                      </a:lnTo>
                      <a:lnTo>
                        <a:pt x="316" y="971"/>
                      </a:lnTo>
                      <a:lnTo>
                        <a:pt x="344" y="1009"/>
                      </a:lnTo>
                      <a:lnTo>
                        <a:pt x="371" y="1047"/>
                      </a:lnTo>
                      <a:lnTo>
                        <a:pt x="412" y="1111"/>
                      </a:lnTo>
                      <a:lnTo>
                        <a:pt x="423" y="1129"/>
                      </a:lnTo>
                      <a:lnTo>
                        <a:pt x="433" y="1149"/>
                      </a:lnTo>
                      <a:lnTo>
                        <a:pt x="445" y="1166"/>
                      </a:lnTo>
                      <a:lnTo>
                        <a:pt x="455" y="1176"/>
                      </a:lnTo>
                      <a:lnTo>
                        <a:pt x="468" y="1187"/>
                      </a:lnTo>
                      <a:lnTo>
                        <a:pt x="485" y="1199"/>
                      </a:lnTo>
                      <a:lnTo>
                        <a:pt x="502" y="1211"/>
                      </a:lnTo>
                      <a:lnTo>
                        <a:pt x="521" y="1224"/>
                      </a:lnTo>
                      <a:lnTo>
                        <a:pt x="541" y="1237"/>
                      </a:lnTo>
                      <a:lnTo>
                        <a:pt x="559" y="1247"/>
                      </a:lnTo>
                      <a:lnTo>
                        <a:pt x="575" y="1258"/>
                      </a:lnTo>
                      <a:lnTo>
                        <a:pt x="589" y="1267"/>
                      </a:lnTo>
                      <a:lnTo>
                        <a:pt x="601" y="1274"/>
                      </a:lnTo>
                      <a:lnTo>
                        <a:pt x="608" y="1279"/>
                      </a:lnTo>
                      <a:lnTo>
                        <a:pt x="611" y="1280"/>
                      </a:lnTo>
                      <a:lnTo>
                        <a:pt x="575" y="1241"/>
                      </a:lnTo>
                      <a:lnTo>
                        <a:pt x="538" y="1203"/>
                      </a:lnTo>
                      <a:lnTo>
                        <a:pt x="522" y="1187"/>
                      </a:lnTo>
                      <a:lnTo>
                        <a:pt x="507" y="1171"/>
                      </a:lnTo>
                      <a:lnTo>
                        <a:pt x="491" y="1155"/>
                      </a:lnTo>
                      <a:lnTo>
                        <a:pt x="476" y="1137"/>
                      </a:lnTo>
                      <a:lnTo>
                        <a:pt x="461" y="1115"/>
                      </a:lnTo>
                      <a:lnTo>
                        <a:pt x="457" y="1109"/>
                      </a:lnTo>
                      <a:lnTo>
                        <a:pt x="450" y="1098"/>
                      </a:lnTo>
                      <a:lnTo>
                        <a:pt x="440" y="1084"/>
                      </a:lnTo>
                      <a:lnTo>
                        <a:pt x="428" y="1066"/>
                      </a:lnTo>
                      <a:lnTo>
                        <a:pt x="413" y="1045"/>
                      </a:lnTo>
                      <a:lnTo>
                        <a:pt x="398" y="1022"/>
                      </a:lnTo>
                      <a:lnTo>
                        <a:pt x="379" y="998"/>
                      </a:lnTo>
                      <a:lnTo>
                        <a:pt x="362" y="974"/>
                      </a:lnTo>
                      <a:lnTo>
                        <a:pt x="344" y="948"/>
                      </a:lnTo>
                      <a:lnTo>
                        <a:pt x="326" y="923"/>
                      </a:lnTo>
                      <a:lnTo>
                        <a:pt x="308" y="897"/>
                      </a:lnTo>
                      <a:lnTo>
                        <a:pt x="292" y="874"/>
                      </a:lnTo>
                      <a:lnTo>
                        <a:pt x="276" y="854"/>
                      </a:lnTo>
                      <a:lnTo>
                        <a:pt x="263" y="834"/>
                      </a:lnTo>
                      <a:lnTo>
                        <a:pt x="251" y="820"/>
                      </a:lnTo>
                      <a:lnTo>
                        <a:pt x="242" y="807"/>
                      </a:lnTo>
                      <a:lnTo>
                        <a:pt x="236" y="800"/>
                      </a:lnTo>
                      <a:lnTo>
                        <a:pt x="234" y="797"/>
                      </a:lnTo>
                      <a:lnTo>
                        <a:pt x="222" y="778"/>
                      </a:lnTo>
                      <a:lnTo>
                        <a:pt x="217" y="761"/>
                      </a:lnTo>
                      <a:lnTo>
                        <a:pt x="216" y="747"/>
                      </a:lnTo>
                      <a:lnTo>
                        <a:pt x="219" y="734"/>
                      </a:lnTo>
                      <a:lnTo>
                        <a:pt x="227" y="723"/>
                      </a:lnTo>
                      <a:lnTo>
                        <a:pt x="238" y="714"/>
                      </a:lnTo>
                      <a:lnTo>
                        <a:pt x="250" y="707"/>
                      </a:lnTo>
                      <a:lnTo>
                        <a:pt x="263" y="701"/>
                      </a:lnTo>
                      <a:lnTo>
                        <a:pt x="279" y="697"/>
                      </a:lnTo>
                      <a:lnTo>
                        <a:pt x="293" y="695"/>
                      </a:lnTo>
                      <a:lnTo>
                        <a:pt x="308" y="694"/>
                      </a:lnTo>
                      <a:lnTo>
                        <a:pt x="321" y="695"/>
                      </a:lnTo>
                      <a:lnTo>
                        <a:pt x="333" y="696"/>
                      </a:lnTo>
                      <a:lnTo>
                        <a:pt x="343" y="700"/>
                      </a:lnTo>
                      <a:lnTo>
                        <a:pt x="353" y="703"/>
                      </a:lnTo>
                      <a:lnTo>
                        <a:pt x="368" y="709"/>
                      </a:lnTo>
                      <a:lnTo>
                        <a:pt x="390" y="718"/>
                      </a:lnTo>
                      <a:lnTo>
                        <a:pt x="417" y="730"/>
                      </a:lnTo>
                      <a:lnTo>
                        <a:pt x="447" y="747"/>
                      </a:lnTo>
                      <a:lnTo>
                        <a:pt x="481" y="767"/>
                      </a:lnTo>
                      <a:lnTo>
                        <a:pt x="520" y="794"/>
                      </a:lnTo>
                      <a:lnTo>
                        <a:pt x="560" y="826"/>
                      </a:lnTo>
                      <a:lnTo>
                        <a:pt x="604" y="864"/>
                      </a:lnTo>
                      <a:lnTo>
                        <a:pt x="648" y="909"/>
                      </a:lnTo>
                      <a:lnTo>
                        <a:pt x="693" y="961"/>
                      </a:lnTo>
                      <a:lnTo>
                        <a:pt x="741" y="1023"/>
                      </a:lnTo>
                      <a:lnTo>
                        <a:pt x="762" y="1051"/>
                      </a:lnTo>
                      <a:lnTo>
                        <a:pt x="785" y="1077"/>
                      </a:lnTo>
                      <a:lnTo>
                        <a:pt x="808" y="1101"/>
                      </a:lnTo>
                      <a:lnTo>
                        <a:pt x="832" y="1126"/>
                      </a:lnTo>
                      <a:lnTo>
                        <a:pt x="851" y="1147"/>
                      </a:lnTo>
                      <a:lnTo>
                        <a:pt x="874" y="1165"/>
                      </a:lnTo>
                      <a:lnTo>
                        <a:pt x="898" y="1181"/>
                      </a:lnTo>
                      <a:lnTo>
                        <a:pt x="918" y="1194"/>
                      </a:lnTo>
                      <a:lnTo>
                        <a:pt x="938" y="1205"/>
                      </a:lnTo>
                      <a:lnTo>
                        <a:pt x="959" y="1210"/>
                      </a:lnTo>
                      <a:lnTo>
                        <a:pt x="1033" y="1216"/>
                      </a:lnTo>
                      <a:lnTo>
                        <a:pt x="1101" y="1224"/>
                      </a:lnTo>
                      <a:lnTo>
                        <a:pt x="1161" y="1234"/>
                      </a:lnTo>
                      <a:lnTo>
                        <a:pt x="1217" y="1244"/>
                      </a:lnTo>
                      <a:lnTo>
                        <a:pt x="1267" y="1256"/>
                      </a:lnTo>
                      <a:lnTo>
                        <a:pt x="1310" y="1268"/>
                      </a:lnTo>
                      <a:lnTo>
                        <a:pt x="1349" y="1280"/>
                      </a:lnTo>
                      <a:lnTo>
                        <a:pt x="1383" y="1292"/>
                      </a:lnTo>
                      <a:lnTo>
                        <a:pt x="1412" y="1304"/>
                      </a:lnTo>
                      <a:lnTo>
                        <a:pt x="1438" y="1317"/>
                      </a:lnTo>
                      <a:lnTo>
                        <a:pt x="1457" y="1327"/>
                      </a:lnTo>
                      <a:lnTo>
                        <a:pt x="1474" y="1336"/>
                      </a:lnTo>
                      <a:lnTo>
                        <a:pt x="1486" y="1344"/>
                      </a:lnTo>
                      <a:lnTo>
                        <a:pt x="1495" y="1351"/>
                      </a:lnTo>
                      <a:lnTo>
                        <a:pt x="1499" y="1354"/>
                      </a:lnTo>
                      <a:lnTo>
                        <a:pt x="1508" y="1360"/>
                      </a:lnTo>
                      <a:lnTo>
                        <a:pt x="1521" y="1370"/>
                      </a:lnTo>
                      <a:lnTo>
                        <a:pt x="1538" y="1383"/>
                      </a:lnTo>
                      <a:lnTo>
                        <a:pt x="1559" y="1401"/>
                      </a:lnTo>
                      <a:lnTo>
                        <a:pt x="1583" y="1422"/>
                      </a:lnTo>
                      <a:lnTo>
                        <a:pt x="1608" y="1446"/>
                      </a:lnTo>
                      <a:lnTo>
                        <a:pt x="1638" y="1474"/>
                      </a:lnTo>
                      <a:lnTo>
                        <a:pt x="1667" y="1506"/>
                      </a:lnTo>
                      <a:lnTo>
                        <a:pt x="1697" y="1541"/>
                      </a:lnTo>
                      <a:lnTo>
                        <a:pt x="1727" y="1580"/>
                      </a:lnTo>
                      <a:lnTo>
                        <a:pt x="1758" y="1621"/>
                      </a:lnTo>
                      <a:lnTo>
                        <a:pt x="1788" y="1666"/>
                      </a:lnTo>
                      <a:lnTo>
                        <a:pt x="1816" y="1713"/>
                      </a:lnTo>
                      <a:lnTo>
                        <a:pt x="1841" y="1765"/>
                      </a:lnTo>
                      <a:lnTo>
                        <a:pt x="1864" y="1820"/>
                      </a:lnTo>
                      <a:lnTo>
                        <a:pt x="1884" y="1877"/>
                      </a:lnTo>
                      <a:lnTo>
                        <a:pt x="1899" y="1937"/>
                      </a:lnTo>
                      <a:lnTo>
                        <a:pt x="1903" y="1955"/>
                      </a:lnTo>
                      <a:lnTo>
                        <a:pt x="1905" y="1980"/>
                      </a:lnTo>
                      <a:lnTo>
                        <a:pt x="1909" y="2006"/>
                      </a:lnTo>
                      <a:lnTo>
                        <a:pt x="1910" y="2035"/>
                      </a:lnTo>
                      <a:lnTo>
                        <a:pt x="1910" y="2064"/>
                      </a:lnTo>
                      <a:lnTo>
                        <a:pt x="1908" y="2091"/>
                      </a:lnTo>
                      <a:lnTo>
                        <a:pt x="1903" y="2115"/>
                      </a:lnTo>
                      <a:lnTo>
                        <a:pt x="1896" y="2180"/>
                      </a:lnTo>
                      <a:lnTo>
                        <a:pt x="1890" y="2244"/>
                      </a:lnTo>
                      <a:lnTo>
                        <a:pt x="1888" y="2478"/>
                      </a:lnTo>
                      <a:lnTo>
                        <a:pt x="1212" y="2478"/>
                      </a:lnTo>
                      <a:lnTo>
                        <a:pt x="1212" y="2223"/>
                      </a:lnTo>
                      <a:lnTo>
                        <a:pt x="1208" y="2192"/>
                      </a:lnTo>
                      <a:lnTo>
                        <a:pt x="1201" y="2161"/>
                      </a:lnTo>
                      <a:lnTo>
                        <a:pt x="1190" y="2134"/>
                      </a:lnTo>
                      <a:lnTo>
                        <a:pt x="1176" y="2108"/>
                      </a:lnTo>
                      <a:lnTo>
                        <a:pt x="1160" y="2084"/>
                      </a:lnTo>
                      <a:lnTo>
                        <a:pt x="1142" y="2062"/>
                      </a:lnTo>
                      <a:lnTo>
                        <a:pt x="1125" y="2044"/>
                      </a:lnTo>
                      <a:lnTo>
                        <a:pt x="1109" y="2028"/>
                      </a:lnTo>
                      <a:lnTo>
                        <a:pt x="1095" y="2015"/>
                      </a:lnTo>
                      <a:lnTo>
                        <a:pt x="1082" y="2005"/>
                      </a:lnTo>
                      <a:lnTo>
                        <a:pt x="1074" y="1998"/>
                      </a:lnTo>
                      <a:lnTo>
                        <a:pt x="1072" y="1997"/>
                      </a:lnTo>
                      <a:lnTo>
                        <a:pt x="1063" y="1992"/>
                      </a:lnTo>
                      <a:lnTo>
                        <a:pt x="1050" y="1983"/>
                      </a:lnTo>
                      <a:lnTo>
                        <a:pt x="1032" y="1974"/>
                      </a:lnTo>
                      <a:lnTo>
                        <a:pt x="1008" y="1960"/>
                      </a:lnTo>
                      <a:lnTo>
                        <a:pt x="982" y="1944"/>
                      </a:lnTo>
                      <a:lnTo>
                        <a:pt x="953" y="1926"/>
                      </a:lnTo>
                      <a:lnTo>
                        <a:pt x="920" y="1908"/>
                      </a:lnTo>
                      <a:lnTo>
                        <a:pt x="885" y="1886"/>
                      </a:lnTo>
                      <a:lnTo>
                        <a:pt x="848" y="1864"/>
                      </a:lnTo>
                      <a:lnTo>
                        <a:pt x="810" y="1841"/>
                      </a:lnTo>
                      <a:lnTo>
                        <a:pt x="770" y="1817"/>
                      </a:lnTo>
                      <a:lnTo>
                        <a:pt x="730" y="1793"/>
                      </a:lnTo>
                      <a:lnTo>
                        <a:pt x="690" y="1767"/>
                      </a:lnTo>
                      <a:lnTo>
                        <a:pt x="650" y="1743"/>
                      </a:lnTo>
                      <a:lnTo>
                        <a:pt x="611" y="1718"/>
                      </a:lnTo>
                      <a:lnTo>
                        <a:pt x="572" y="1694"/>
                      </a:lnTo>
                      <a:lnTo>
                        <a:pt x="536" y="1669"/>
                      </a:lnTo>
                      <a:lnTo>
                        <a:pt x="502" y="1646"/>
                      </a:lnTo>
                      <a:lnTo>
                        <a:pt x="470" y="1624"/>
                      </a:lnTo>
                      <a:lnTo>
                        <a:pt x="441" y="1604"/>
                      </a:lnTo>
                      <a:lnTo>
                        <a:pt x="417" y="1586"/>
                      </a:lnTo>
                      <a:lnTo>
                        <a:pt x="395" y="1569"/>
                      </a:lnTo>
                      <a:lnTo>
                        <a:pt x="378" y="1553"/>
                      </a:lnTo>
                      <a:lnTo>
                        <a:pt x="366" y="1541"/>
                      </a:lnTo>
                      <a:lnTo>
                        <a:pt x="354" y="1525"/>
                      </a:lnTo>
                      <a:lnTo>
                        <a:pt x="341" y="1504"/>
                      </a:lnTo>
                      <a:lnTo>
                        <a:pt x="325" y="1479"/>
                      </a:lnTo>
                      <a:lnTo>
                        <a:pt x="308" y="1449"/>
                      </a:lnTo>
                      <a:lnTo>
                        <a:pt x="290" y="1415"/>
                      </a:lnTo>
                      <a:lnTo>
                        <a:pt x="270" y="1377"/>
                      </a:lnTo>
                      <a:lnTo>
                        <a:pt x="251" y="1337"/>
                      </a:lnTo>
                      <a:lnTo>
                        <a:pt x="230" y="1295"/>
                      </a:lnTo>
                      <a:lnTo>
                        <a:pt x="208" y="1251"/>
                      </a:lnTo>
                      <a:lnTo>
                        <a:pt x="187" y="1205"/>
                      </a:lnTo>
                      <a:lnTo>
                        <a:pt x="166" y="1159"/>
                      </a:lnTo>
                      <a:lnTo>
                        <a:pt x="145" y="1113"/>
                      </a:lnTo>
                      <a:lnTo>
                        <a:pt x="125" y="1067"/>
                      </a:lnTo>
                      <a:lnTo>
                        <a:pt x="104" y="1021"/>
                      </a:lnTo>
                      <a:lnTo>
                        <a:pt x="86" y="977"/>
                      </a:lnTo>
                      <a:lnTo>
                        <a:pt x="69" y="935"/>
                      </a:lnTo>
                      <a:lnTo>
                        <a:pt x="53" y="896"/>
                      </a:lnTo>
                      <a:lnTo>
                        <a:pt x="39" y="858"/>
                      </a:lnTo>
                      <a:lnTo>
                        <a:pt x="27" y="826"/>
                      </a:lnTo>
                      <a:lnTo>
                        <a:pt x="16" y="795"/>
                      </a:lnTo>
                      <a:lnTo>
                        <a:pt x="8" y="771"/>
                      </a:lnTo>
                      <a:lnTo>
                        <a:pt x="4" y="751"/>
                      </a:lnTo>
                      <a:lnTo>
                        <a:pt x="1" y="736"/>
                      </a:lnTo>
                      <a:lnTo>
                        <a:pt x="0" y="702"/>
                      </a:lnTo>
                      <a:lnTo>
                        <a:pt x="0" y="664"/>
                      </a:lnTo>
                      <a:lnTo>
                        <a:pt x="1" y="624"/>
                      </a:lnTo>
                      <a:lnTo>
                        <a:pt x="2" y="583"/>
                      </a:lnTo>
                      <a:lnTo>
                        <a:pt x="4" y="540"/>
                      </a:lnTo>
                      <a:lnTo>
                        <a:pt x="6" y="495"/>
                      </a:lnTo>
                      <a:lnTo>
                        <a:pt x="8" y="451"/>
                      </a:lnTo>
                      <a:lnTo>
                        <a:pt x="12" y="409"/>
                      </a:lnTo>
                      <a:lnTo>
                        <a:pt x="15" y="369"/>
                      </a:lnTo>
                      <a:lnTo>
                        <a:pt x="18" y="331"/>
                      </a:lnTo>
                      <a:lnTo>
                        <a:pt x="21" y="297"/>
                      </a:lnTo>
                      <a:lnTo>
                        <a:pt x="23" y="267"/>
                      </a:lnTo>
                      <a:lnTo>
                        <a:pt x="25" y="243"/>
                      </a:lnTo>
                      <a:lnTo>
                        <a:pt x="28" y="224"/>
                      </a:lnTo>
                      <a:lnTo>
                        <a:pt x="29" y="212"/>
                      </a:lnTo>
                      <a:lnTo>
                        <a:pt x="29" y="209"/>
                      </a:lnTo>
                      <a:lnTo>
                        <a:pt x="32" y="182"/>
                      </a:lnTo>
                      <a:lnTo>
                        <a:pt x="34" y="153"/>
                      </a:lnTo>
                      <a:lnTo>
                        <a:pt x="38" y="124"/>
                      </a:lnTo>
                      <a:lnTo>
                        <a:pt x="42" y="95"/>
                      </a:lnTo>
                      <a:lnTo>
                        <a:pt x="47" y="68"/>
                      </a:lnTo>
                      <a:lnTo>
                        <a:pt x="52" y="45"/>
                      </a:lnTo>
                      <a:lnTo>
                        <a:pt x="58" y="27"/>
                      </a:lnTo>
                      <a:lnTo>
                        <a:pt x="65" y="16"/>
                      </a:lnTo>
                      <a:lnTo>
                        <a:pt x="76" y="5"/>
                      </a:lnTo>
                      <a:lnTo>
                        <a:pt x="90" y="0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7086" tIns="43543" rIns="87086" bIns="4354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870875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</a:pPr>
                  <a:endParaRPr lang="en-GB" sz="1714" dirty="0">
                    <a:solidFill>
                      <a:prstClr val="black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164"/>
                <p:cNvSpPr>
                  <a:spLocks/>
                </p:cNvSpPr>
                <p:nvPr/>
              </p:nvSpPr>
              <p:spPr bwMode="auto">
                <a:xfrm>
                  <a:off x="1244600" y="4016377"/>
                  <a:ext cx="606425" cy="787400"/>
                </a:xfrm>
                <a:custGeom>
                  <a:avLst/>
                  <a:gdLst>
                    <a:gd name="T0" fmla="*/ 1846 w 1909"/>
                    <a:gd name="T1" fmla="*/ 16 h 2478"/>
                    <a:gd name="T2" fmla="*/ 1869 w 1909"/>
                    <a:gd name="T3" fmla="*/ 95 h 2478"/>
                    <a:gd name="T4" fmla="*/ 1881 w 1909"/>
                    <a:gd name="T5" fmla="*/ 209 h 2478"/>
                    <a:gd name="T6" fmla="*/ 1887 w 1909"/>
                    <a:gd name="T7" fmla="*/ 267 h 2478"/>
                    <a:gd name="T8" fmla="*/ 1898 w 1909"/>
                    <a:gd name="T9" fmla="*/ 409 h 2478"/>
                    <a:gd name="T10" fmla="*/ 1908 w 1909"/>
                    <a:gd name="T11" fmla="*/ 582 h 2478"/>
                    <a:gd name="T12" fmla="*/ 1902 w 1909"/>
                    <a:gd name="T13" fmla="*/ 770 h 2478"/>
                    <a:gd name="T14" fmla="*/ 1858 w 1909"/>
                    <a:gd name="T15" fmla="*/ 896 h 2478"/>
                    <a:gd name="T16" fmla="*/ 1785 w 1909"/>
                    <a:gd name="T17" fmla="*/ 1067 h 2478"/>
                    <a:gd name="T18" fmla="*/ 1702 w 1909"/>
                    <a:gd name="T19" fmla="*/ 1251 h 2478"/>
                    <a:gd name="T20" fmla="*/ 1621 w 1909"/>
                    <a:gd name="T21" fmla="*/ 1415 h 2478"/>
                    <a:gd name="T22" fmla="*/ 1556 w 1909"/>
                    <a:gd name="T23" fmla="*/ 1525 h 2478"/>
                    <a:gd name="T24" fmla="*/ 1494 w 1909"/>
                    <a:gd name="T25" fmla="*/ 1586 h 2478"/>
                    <a:gd name="T26" fmla="*/ 1374 w 1909"/>
                    <a:gd name="T27" fmla="*/ 1669 h 2478"/>
                    <a:gd name="T28" fmla="*/ 1221 w 1909"/>
                    <a:gd name="T29" fmla="*/ 1767 h 2478"/>
                    <a:gd name="T30" fmla="*/ 1062 w 1909"/>
                    <a:gd name="T31" fmla="*/ 1864 h 2478"/>
                    <a:gd name="T32" fmla="*/ 928 w 1909"/>
                    <a:gd name="T33" fmla="*/ 1944 h 2478"/>
                    <a:gd name="T34" fmla="*/ 847 w 1909"/>
                    <a:gd name="T35" fmla="*/ 1992 h 2478"/>
                    <a:gd name="T36" fmla="*/ 817 w 1909"/>
                    <a:gd name="T37" fmla="*/ 2015 h 2478"/>
                    <a:gd name="T38" fmla="*/ 751 w 1909"/>
                    <a:gd name="T39" fmla="*/ 2084 h 2478"/>
                    <a:gd name="T40" fmla="*/ 702 w 1909"/>
                    <a:gd name="T41" fmla="*/ 2192 h 2478"/>
                    <a:gd name="T42" fmla="*/ 21 w 1909"/>
                    <a:gd name="T43" fmla="*/ 2244 h 2478"/>
                    <a:gd name="T44" fmla="*/ 0 w 1909"/>
                    <a:gd name="T45" fmla="*/ 2064 h 2478"/>
                    <a:gd name="T46" fmla="*/ 7 w 1909"/>
                    <a:gd name="T47" fmla="*/ 1955 h 2478"/>
                    <a:gd name="T48" fmla="*/ 69 w 1909"/>
                    <a:gd name="T49" fmla="*/ 1765 h 2478"/>
                    <a:gd name="T50" fmla="*/ 183 w 1909"/>
                    <a:gd name="T51" fmla="*/ 1580 h 2478"/>
                    <a:gd name="T52" fmla="*/ 302 w 1909"/>
                    <a:gd name="T53" fmla="*/ 1446 h 2478"/>
                    <a:gd name="T54" fmla="*/ 389 w 1909"/>
                    <a:gd name="T55" fmla="*/ 1370 h 2478"/>
                    <a:gd name="T56" fmla="*/ 424 w 1909"/>
                    <a:gd name="T57" fmla="*/ 1344 h 2478"/>
                    <a:gd name="T58" fmla="*/ 498 w 1909"/>
                    <a:gd name="T59" fmla="*/ 1304 h 2478"/>
                    <a:gd name="T60" fmla="*/ 644 w 1909"/>
                    <a:gd name="T61" fmla="*/ 1256 h 2478"/>
                    <a:gd name="T62" fmla="*/ 877 w 1909"/>
                    <a:gd name="T63" fmla="*/ 1216 h 2478"/>
                    <a:gd name="T64" fmla="*/ 1012 w 1909"/>
                    <a:gd name="T65" fmla="*/ 1181 h 2478"/>
                    <a:gd name="T66" fmla="*/ 1102 w 1909"/>
                    <a:gd name="T67" fmla="*/ 1101 h 2478"/>
                    <a:gd name="T68" fmla="*/ 1217 w 1909"/>
                    <a:gd name="T69" fmla="*/ 961 h 2478"/>
                    <a:gd name="T70" fmla="*/ 1390 w 1909"/>
                    <a:gd name="T71" fmla="*/ 793 h 2478"/>
                    <a:gd name="T72" fmla="*/ 1520 w 1909"/>
                    <a:gd name="T73" fmla="*/ 718 h 2478"/>
                    <a:gd name="T74" fmla="*/ 1577 w 1909"/>
                    <a:gd name="T75" fmla="*/ 696 h 2478"/>
                    <a:gd name="T76" fmla="*/ 1631 w 1909"/>
                    <a:gd name="T77" fmla="*/ 697 h 2478"/>
                    <a:gd name="T78" fmla="*/ 1684 w 1909"/>
                    <a:gd name="T79" fmla="*/ 723 h 2478"/>
                    <a:gd name="T80" fmla="*/ 1688 w 1909"/>
                    <a:gd name="T81" fmla="*/ 778 h 2478"/>
                    <a:gd name="T82" fmla="*/ 1659 w 1909"/>
                    <a:gd name="T83" fmla="*/ 820 h 2478"/>
                    <a:gd name="T84" fmla="*/ 1602 w 1909"/>
                    <a:gd name="T85" fmla="*/ 897 h 2478"/>
                    <a:gd name="T86" fmla="*/ 1531 w 1909"/>
                    <a:gd name="T87" fmla="*/ 998 h 2478"/>
                    <a:gd name="T88" fmla="*/ 1470 w 1909"/>
                    <a:gd name="T89" fmla="*/ 1084 h 2478"/>
                    <a:gd name="T90" fmla="*/ 1434 w 1909"/>
                    <a:gd name="T91" fmla="*/ 1137 h 2478"/>
                    <a:gd name="T92" fmla="*/ 1372 w 1909"/>
                    <a:gd name="T93" fmla="*/ 1203 h 2478"/>
                    <a:gd name="T94" fmla="*/ 1309 w 1909"/>
                    <a:gd name="T95" fmla="*/ 1274 h 2478"/>
                    <a:gd name="T96" fmla="*/ 1371 w 1909"/>
                    <a:gd name="T97" fmla="*/ 1237 h 2478"/>
                    <a:gd name="T98" fmla="*/ 1442 w 1909"/>
                    <a:gd name="T99" fmla="*/ 1187 h 2478"/>
                    <a:gd name="T100" fmla="*/ 1487 w 1909"/>
                    <a:gd name="T101" fmla="*/ 1129 h 2478"/>
                    <a:gd name="T102" fmla="*/ 1594 w 1909"/>
                    <a:gd name="T103" fmla="*/ 971 h 2478"/>
                    <a:gd name="T104" fmla="*/ 1728 w 1909"/>
                    <a:gd name="T105" fmla="*/ 793 h 2478"/>
                    <a:gd name="T106" fmla="*/ 1730 w 1909"/>
                    <a:gd name="T107" fmla="*/ 709 h 2478"/>
                    <a:gd name="T108" fmla="*/ 1674 w 1909"/>
                    <a:gd name="T109" fmla="*/ 661 h 2478"/>
                    <a:gd name="T110" fmla="*/ 1640 w 1909"/>
                    <a:gd name="T111" fmla="*/ 633 h 2478"/>
                    <a:gd name="T112" fmla="*/ 1651 w 1909"/>
                    <a:gd name="T113" fmla="*/ 534 h 2478"/>
                    <a:gd name="T114" fmla="*/ 1665 w 1909"/>
                    <a:gd name="T115" fmla="*/ 401 h 2478"/>
                    <a:gd name="T116" fmla="*/ 1676 w 1909"/>
                    <a:gd name="T117" fmla="*/ 301 h 2478"/>
                    <a:gd name="T118" fmla="*/ 1693 w 1909"/>
                    <a:gd name="T119" fmla="*/ 167 h 2478"/>
                    <a:gd name="T120" fmla="*/ 1733 w 1909"/>
                    <a:gd name="T121" fmla="*/ 50 h 2478"/>
                    <a:gd name="T122" fmla="*/ 1807 w 1909"/>
                    <a:gd name="T123" fmla="*/ 0 h 24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909" h="2478">
                      <a:moveTo>
                        <a:pt x="1807" y="0"/>
                      </a:moveTo>
                      <a:lnTo>
                        <a:pt x="1821" y="0"/>
                      </a:lnTo>
                      <a:lnTo>
                        <a:pt x="1834" y="5"/>
                      </a:lnTo>
                      <a:lnTo>
                        <a:pt x="1846" y="16"/>
                      </a:lnTo>
                      <a:lnTo>
                        <a:pt x="1852" y="27"/>
                      </a:lnTo>
                      <a:lnTo>
                        <a:pt x="1858" y="45"/>
                      </a:lnTo>
                      <a:lnTo>
                        <a:pt x="1864" y="68"/>
                      </a:lnTo>
                      <a:lnTo>
                        <a:pt x="1869" y="95"/>
                      </a:lnTo>
                      <a:lnTo>
                        <a:pt x="1873" y="124"/>
                      </a:lnTo>
                      <a:lnTo>
                        <a:pt x="1876" y="153"/>
                      </a:lnTo>
                      <a:lnTo>
                        <a:pt x="1879" y="182"/>
                      </a:lnTo>
                      <a:lnTo>
                        <a:pt x="1881" y="209"/>
                      </a:lnTo>
                      <a:lnTo>
                        <a:pt x="1881" y="212"/>
                      </a:lnTo>
                      <a:lnTo>
                        <a:pt x="1882" y="224"/>
                      </a:lnTo>
                      <a:lnTo>
                        <a:pt x="1885" y="243"/>
                      </a:lnTo>
                      <a:lnTo>
                        <a:pt x="1887" y="267"/>
                      </a:lnTo>
                      <a:lnTo>
                        <a:pt x="1890" y="297"/>
                      </a:lnTo>
                      <a:lnTo>
                        <a:pt x="1892" y="331"/>
                      </a:lnTo>
                      <a:lnTo>
                        <a:pt x="1896" y="369"/>
                      </a:lnTo>
                      <a:lnTo>
                        <a:pt x="1898" y="409"/>
                      </a:lnTo>
                      <a:lnTo>
                        <a:pt x="1902" y="451"/>
                      </a:lnTo>
                      <a:lnTo>
                        <a:pt x="1904" y="495"/>
                      </a:lnTo>
                      <a:lnTo>
                        <a:pt x="1907" y="540"/>
                      </a:lnTo>
                      <a:lnTo>
                        <a:pt x="1908" y="582"/>
                      </a:lnTo>
                      <a:lnTo>
                        <a:pt x="1909" y="603"/>
                      </a:lnTo>
                      <a:lnTo>
                        <a:pt x="1909" y="736"/>
                      </a:lnTo>
                      <a:lnTo>
                        <a:pt x="1907" y="751"/>
                      </a:lnTo>
                      <a:lnTo>
                        <a:pt x="1902" y="770"/>
                      </a:lnTo>
                      <a:lnTo>
                        <a:pt x="1894" y="795"/>
                      </a:lnTo>
                      <a:lnTo>
                        <a:pt x="1884" y="826"/>
                      </a:lnTo>
                      <a:lnTo>
                        <a:pt x="1871" y="858"/>
                      </a:lnTo>
                      <a:lnTo>
                        <a:pt x="1858" y="896"/>
                      </a:lnTo>
                      <a:lnTo>
                        <a:pt x="1841" y="935"/>
                      </a:lnTo>
                      <a:lnTo>
                        <a:pt x="1824" y="977"/>
                      </a:lnTo>
                      <a:lnTo>
                        <a:pt x="1806" y="1021"/>
                      </a:lnTo>
                      <a:lnTo>
                        <a:pt x="1785" y="1067"/>
                      </a:lnTo>
                      <a:lnTo>
                        <a:pt x="1766" y="1113"/>
                      </a:lnTo>
                      <a:lnTo>
                        <a:pt x="1744" y="1159"/>
                      </a:lnTo>
                      <a:lnTo>
                        <a:pt x="1724" y="1205"/>
                      </a:lnTo>
                      <a:lnTo>
                        <a:pt x="1702" y="1251"/>
                      </a:lnTo>
                      <a:lnTo>
                        <a:pt x="1681" y="1295"/>
                      </a:lnTo>
                      <a:lnTo>
                        <a:pt x="1659" y="1337"/>
                      </a:lnTo>
                      <a:lnTo>
                        <a:pt x="1640" y="1377"/>
                      </a:lnTo>
                      <a:lnTo>
                        <a:pt x="1621" y="1415"/>
                      </a:lnTo>
                      <a:lnTo>
                        <a:pt x="1602" y="1449"/>
                      </a:lnTo>
                      <a:lnTo>
                        <a:pt x="1585" y="1479"/>
                      </a:lnTo>
                      <a:lnTo>
                        <a:pt x="1570" y="1504"/>
                      </a:lnTo>
                      <a:lnTo>
                        <a:pt x="1556" y="1525"/>
                      </a:lnTo>
                      <a:lnTo>
                        <a:pt x="1544" y="1541"/>
                      </a:lnTo>
                      <a:lnTo>
                        <a:pt x="1532" y="1553"/>
                      </a:lnTo>
                      <a:lnTo>
                        <a:pt x="1515" y="1569"/>
                      </a:lnTo>
                      <a:lnTo>
                        <a:pt x="1494" y="1586"/>
                      </a:lnTo>
                      <a:lnTo>
                        <a:pt x="1469" y="1604"/>
                      </a:lnTo>
                      <a:lnTo>
                        <a:pt x="1440" y="1624"/>
                      </a:lnTo>
                      <a:lnTo>
                        <a:pt x="1408" y="1646"/>
                      </a:lnTo>
                      <a:lnTo>
                        <a:pt x="1374" y="1669"/>
                      </a:lnTo>
                      <a:lnTo>
                        <a:pt x="1338" y="1694"/>
                      </a:lnTo>
                      <a:lnTo>
                        <a:pt x="1299" y="1718"/>
                      </a:lnTo>
                      <a:lnTo>
                        <a:pt x="1261" y="1743"/>
                      </a:lnTo>
                      <a:lnTo>
                        <a:pt x="1221" y="1767"/>
                      </a:lnTo>
                      <a:lnTo>
                        <a:pt x="1181" y="1793"/>
                      </a:lnTo>
                      <a:lnTo>
                        <a:pt x="1141" y="1817"/>
                      </a:lnTo>
                      <a:lnTo>
                        <a:pt x="1101" y="1841"/>
                      </a:lnTo>
                      <a:lnTo>
                        <a:pt x="1062" y="1864"/>
                      </a:lnTo>
                      <a:lnTo>
                        <a:pt x="1025" y="1886"/>
                      </a:lnTo>
                      <a:lnTo>
                        <a:pt x="990" y="1908"/>
                      </a:lnTo>
                      <a:lnTo>
                        <a:pt x="957" y="1926"/>
                      </a:lnTo>
                      <a:lnTo>
                        <a:pt x="928" y="1944"/>
                      </a:lnTo>
                      <a:lnTo>
                        <a:pt x="902" y="1960"/>
                      </a:lnTo>
                      <a:lnTo>
                        <a:pt x="880" y="1974"/>
                      </a:lnTo>
                      <a:lnTo>
                        <a:pt x="862" y="1983"/>
                      </a:lnTo>
                      <a:lnTo>
                        <a:pt x="847" y="1992"/>
                      </a:lnTo>
                      <a:lnTo>
                        <a:pt x="839" y="1997"/>
                      </a:lnTo>
                      <a:lnTo>
                        <a:pt x="836" y="1998"/>
                      </a:lnTo>
                      <a:lnTo>
                        <a:pt x="828" y="2005"/>
                      </a:lnTo>
                      <a:lnTo>
                        <a:pt x="817" y="2015"/>
                      </a:lnTo>
                      <a:lnTo>
                        <a:pt x="802" y="2028"/>
                      </a:lnTo>
                      <a:lnTo>
                        <a:pt x="785" y="2044"/>
                      </a:lnTo>
                      <a:lnTo>
                        <a:pt x="768" y="2062"/>
                      </a:lnTo>
                      <a:lnTo>
                        <a:pt x="751" y="2084"/>
                      </a:lnTo>
                      <a:lnTo>
                        <a:pt x="734" y="2108"/>
                      </a:lnTo>
                      <a:lnTo>
                        <a:pt x="720" y="2134"/>
                      </a:lnTo>
                      <a:lnTo>
                        <a:pt x="709" y="2161"/>
                      </a:lnTo>
                      <a:lnTo>
                        <a:pt x="702" y="2192"/>
                      </a:lnTo>
                      <a:lnTo>
                        <a:pt x="698" y="2222"/>
                      </a:lnTo>
                      <a:lnTo>
                        <a:pt x="698" y="2478"/>
                      </a:lnTo>
                      <a:lnTo>
                        <a:pt x="22" y="2478"/>
                      </a:lnTo>
                      <a:lnTo>
                        <a:pt x="21" y="2244"/>
                      </a:lnTo>
                      <a:lnTo>
                        <a:pt x="16" y="2180"/>
                      </a:lnTo>
                      <a:lnTo>
                        <a:pt x="7" y="2115"/>
                      </a:lnTo>
                      <a:lnTo>
                        <a:pt x="2" y="2091"/>
                      </a:lnTo>
                      <a:lnTo>
                        <a:pt x="0" y="2064"/>
                      </a:lnTo>
                      <a:lnTo>
                        <a:pt x="0" y="2035"/>
                      </a:lnTo>
                      <a:lnTo>
                        <a:pt x="1" y="2006"/>
                      </a:lnTo>
                      <a:lnTo>
                        <a:pt x="5" y="1980"/>
                      </a:lnTo>
                      <a:lnTo>
                        <a:pt x="7" y="1955"/>
                      </a:lnTo>
                      <a:lnTo>
                        <a:pt x="11" y="1937"/>
                      </a:lnTo>
                      <a:lnTo>
                        <a:pt x="27" y="1877"/>
                      </a:lnTo>
                      <a:lnTo>
                        <a:pt x="46" y="1818"/>
                      </a:lnTo>
                      <a:lnTo>
                        <a:pt x="69" y="1765"/>
                      </a:lnTo>
                      <a:lnTo>
                        <a:pt x="96" y="1713"/>
                      </a:lnTo>
                      <a:lnTo>
                        <a:pt x="122" y="1666"/>
                      </a:lnTo>
                      <a:lnTo>
                        <a:pt x="153" y="1621"/>
                      </a:lnTo>
                      <a:lnTo>
                        <a:pt x="183" y="1580"/>
                      </a:lnTo>
                      <a:lnTo>
                        <a:pt x="213" y="1541"/>
                      </a:lnTo>
                      <a:lnTo>
                        <a:pt x="244" y="1506"/>
                      </a:lnTo>
                      <a:lnTo>
                        <a:pt x="273" y="1474"/>
                      </a:lnTo>
                      <a:lnTo>
                        <a:pt x="302" y="1446"/>
                      </a:lnTo>
                      <a:lnTo>
                        <a:pt x="327" y="1422"/>
                      </a:lnTo>
                      <a:lnTo>
                        <a:pt x="351" y="1401"/>
                      </a:lnTo>
                      <a:lnTo>
                        <a:pt x="372" y="1383"/>
                      </a:lnTo>
                      <a:lnTo>
                        <a:pt x="389" y="1370"/>
                      </a:lnTo>
                      <a:lnTo>
                        <a:pt x="402" y="1360"/>
                      </a:lnTo>
                      <a:lnTo>
                        <a:pt x="411" y="1354"/>
                      </a:lnTo>
                      <a:lnTo>
                        <a:pt x="416" y="1351"/>
                      </a:lnTo>
                      <a:lnTo>
                        <a:pt x="424" y="1344"/>
                      </a:lnTo>
                      <a:lnTo>
                        <a:pt x="436" y="1336"/>
                      </a:lnTo>
                      <a:lnTo>
                        <a:pt x="453" y="1326"/>
                      </a:lnTo>
                      <a:lnTo>
                        <a:pt x="473" y="1317"/>
                      </a:lnTo>
                      <a:lnTo>
                        <a:pt x="498" y="1304"/>
                      </a:lnTo>
                      <a:lnTo>
                        <a:pt x="527" y="1292"/>
                      </a:lnTo>
                      <a:lnTo>
                        <a:pt x="561" y="1280"/>
                      </a:lnTo>
                      <a:lnTo>
                        <a:pt x="600" y="1268"/>
                      </a:lnTo>
                      <a:lnTo>
                        <a:pt x="644" y="1256"/>
                      </a:lnTo>
                      <a:lnTo>
                        <a:pt x="693" y="1244"/>
                      </a:lnTo>
                      <a:lnTo>
                        <a:pt x="749" y="1233"/>
                      </a:lnTo>
                      <a:lnTo>
                        <a:pt x="810" y="1224"/>
                      </a:lnTo>
                      <a:lnTo>
                        <a:pt x="877" y="1216"/>
                      </a:lnTo>
                      <a:lnTo>
                        <a:pt x="951" y="1210"/>
                      </a:lnTo>
                      <a:lnTo>
                        <a:pt x="972" y="1205"/>
                      </a:lnTo>
                      <a:lnTo>
                        <a:pt x="993" y="1193"/>
                      </a:lnTo>
                      <a:lnTo>
                        <a:pt x="1012" y="1181"/>
                      </a:lnTo>
                      <a:lnTo>
                        <a:pt x="1036" y="1164"/>
                      </a:lnTo>
                      <a:lnTo>
                        <a:pt x="1059" y="1147"/>
                      </a:lnTo>
                      <a:lnTo>
                        <a:pt x="1080" y="1126"/>
                      </a:lnTo>
                      <a:lnTo>
                        <a:pt x="1102" y="1101"/>
                      </a:lnTo>
                      <a:lnTo>
                        <a:pt x="1125" y="1077"/>
                      </a:lnTo>
                      <a:lnTo>
                        <a:pt x="1148" y="1051"/>
                      </a:lnTo>
                      <a:lnTo>
                        <a:pt x="1170" y="1023"/>
                      </a:lnTo>
                      <a:lnTo>
                        <a:pt x="1217" y="961"/>
                      </a:lnTo>
                      <a:lnTo>
                        <a:pt x="1263" y="909"/>
                      </a:lnTo>
                      <a:lnTo>
                        <a:pt x="1307" y="864"/>
                      </a:lnTo>
                      <a:lnTo>
                        <a:pt x="1350" y="826"/>
                      </a:lnTo>
                      <a:lnTo>
                        <a:pt x="1390" y="793"/>
                      </a:lnTo>
                      <a:lnTo>
                        <a:pt x="1429" y="767"/>
                      </a:lnTo>
                      <a:lnTo>
                        <a:pt x="1463" y="747"/>
                      </a:lnTo>
                      <a:lnTo>
                        <a:pt x="1493" y="730"/>
                      </a:lnTo>
                      <a:lnTo>
                        <a:pt x="1520" y="718"/>
                      </a:lnTo>
                      <a:lnTo>
                        <a:pt x="1542" y="709"/>
                      </a:lnTo>
                      <a:lnTo>
                        <a:pt x="1557" y="703"/>
                      </a:lnTo>
                      <a:lnTo>
                        <a:pt x="1567" y="700"/>
                      </a:lnTo>
                      <a:lnTo>
                        <a:pt x="1577" y="696"/>
                      </a:lnTo>
                      <a:lnTo>
                        <a:pt x="1589" y="695"/>
                      </a:lnTo>
                      <a:lnTo>
                        <a:pt x="1602" y="694"/>
                      </a:lnTo>
                      <a:lnTo>
                        <a:pt x="1617" y="695"/>
                      </a:lnTo>
                      <a:lnTo>
                        <a:pt x="1631" y="697"/>
                      </a:lnTo>
                      <a:lnTo>
                        <a:pt x="1647" y="701"/>
                      </a:lnTo>
                      <a:lnTo>
                        <a:pt x="1661" y="707"/>
                      </a:lnTo>
                      <a:lnTo>
                        <a:pt x="1674" y="714"/>
                      </a:lnTo>
                      <a:lnTo>
                        <a:pt x="1684" y="723"/>
                      </a:lnTo>
                      <a:lnTo>
                        <a:pt x="1691" y="734"/>
                      </a:lnTo>
                      <a:lnTo>
                        <a:pt x="1694" y="747"/>
                      </a:lnTo>
                      <a:lnTo>
                        <a:pt x="1693" y="761"/>
                      </a:lnTo>
                      <a:lnTo>
                        <a:pt x="1688" y="778"/>
                      </a:lnTo>
                      <a:lnTo>
                        <a:pt x="1676" y="797"/>
                      </a:lnTo>
                      <a:lnTo>
                        <a:pt x="1674" y="800"/>
                      </a:lnTo>
                      <a:lnTo>
                        <a:pt x="1668" y="807"/>
                      </a:lnTo>
                      <a:lnTo>
                        <a:pt x="1659" y="820"/>
                      </a:lnTo>
                      <a:lnTo>
                        <a:pt x="1648" y="834"/>
                      </a:lnTo>
                      <a:lnTo>
                        <a:pt x="1634" y="854"/>
                      </a:lnTo>
                      <a:lnTo>
                        <a:pt x="1619" y="874"/>
                      </a:lnTo>
                      <a:lnTo>
                        <a:pt x="1602" y="897"/>
                      </a:lnTo>
                      <a:lnTo>
                        <a:pt x="1584" y="923"/>
                      </a:lnTo>
                      <a:lnTo>
                        <a:pt x="1566" y="948"/>
                      </a:lnTo>
                      <a:lnTo>
                        <a:pt x="1548" y="974"/>
                      </a:lnTo>
                      <a:lnTo>
                        <a:pt x="1531" y="998"/>
                      </a:lnTo>
                      <a:lnTo>
                        <a:pt x="1514" y="1022"/>
                      </a:lnTo>
                      <a:lnTo>
                        <a:pt x="1497" y="1045"/>
                      </a:lnTo>
                      <a:lnTo>
                        <a:pt x="1482" y="1066"/>
                      </a:lnTo>
                      <a:lnTo>
                        <a:pt x="1470" y="1084"/>
                      </a:lnTo>
                      <a:lnTo>
                        <a:pt x="1461" y="1098"/>
                      </a:lnTo>
                      <a:lnTo>
                        <a:pt x="1453" y="1109"/>
                      </a:lnTo>
                      <a:lnTo>
                        <a:pt x="1450" y="1115"/>
                      </a:lnTo>
                      <a:lnTo>
                        <a:pt x="1434" y="1137"/>
                      </a:lnTo>
                      <a:lnTo>
                        <a:pt x="1419" y="1155"/>
                      </a:lnTo>
                      <a:lnTo>
                        <a:pt x="1404" y="1171"/>
                      </a:lnTo>
                      <a:lnTo>
                        <a:pt x="1388" y="1187"/>
                      </a:lnTo>
                      <a:lnTo>
                        <a:pt x="1372" y="1203"/>
                      </a:lnTo>
                      <a:lnTo>
                        <a:pt x="1336" y="1241"/>
                      </a:lnTo>
                      <a:lnTo>
                        <a:pt x="1299" y="1280"/>
                      </a:lnTo>
                      <a:lnTo>
                        <a:pt x="1302" y="1279"/>
                      </a:lnTo>
                      <a:lnTo>
                        <a:pt x="1309" y="1274"/>
                      </a:lnTo>
                      <a:lnTo>
                        <a:pt x="1321" y="1267"/>
                      </a:lnTo>
                      <a:lnTo>
                        <a:pt x="1336" y="1258"/>
                      </a:lnTo>
                      <a:lnTo>
                        <a:pt x="1351" y="1247"/>
                      </a:lnTo>
                      <a:lnTo>
                        <a:pt x="1371" y="1237"/>
                      </a:lnTo>
                      <a:lnTo>
                        <a:pt x="1389" y="1224"/>
                      </a:lnTo>
                      <a:lnTo>
                        <a:pt x="1408" y="1211"/>
                      </a:lnTo>
                      <a:lnTo>
                        <a:pt x="1425" y="1199"/>
                      </a:lnTo>
                      <a:lnTo>
                        <a:pt x="1442" y="1187"/>
                      </a:lnTo>
                      <a:lnTo>
                        <a:pt x="1456" y="1176"/>
                      </a:lnTo>
                      <a:lnTo>
                        <a:pt x="1465" y="1166"/>
                      </a:lnTo>
                      <a:lnTo>
                        <a:pt x="1477" y="1149"/>
                      </a:lnTo>
                      <a:lnTo>
                        <a:pt x="1487" y="1129"/>
                      </a:lnTo>
                      <a:lnTo>
                        <a:pt x="1498" y="1111"/>
                      </a:lnTo>
                      <a:lnTo>
                        <a:pt x="1539" y="1047"/>
                      </a:lnTo>
                      <a:lnTo>
                        <a:pt x="1566" y="1009"/>
                      </a:lnTo>
                      <a:lnTo>
                        <a:pt x="1594" y="971"/>
                      </a:lnTo>
                      <a:lnTo>
                        <a:pt x="1669" y="878"/>
                      </a:lnTo>
                      <a:lnTo>
                        <a:pt x="1693" y="849"/>
                      </a:lnTo>
                      <a:lnTo>
                        <a:pt x="1715" y="820"/>
                      </a:lnTo>
                      <a:lnTo>
                        <a:pt x="1728" y="793"/>
                      </a:lnTo>
                      <a:lnTo>
                        <a:pt x="1737" y="769"/>
                      </a:lnTo>
                      <a:lnTo>
                        <a:pt x="1739" y="747"/>
                      </a:lnTo>
                      <a:lnTo>
                        <a:pt x="1737" y="727"/>
                      </a:lnTo>
                      <a:lnTo>
                        <a:pt x="1730" y="709"/>
                      </a:lnTo>
                      <a:lnTo>
                        <a:pt x="1720" y="694"/>
                      </a:lnTo>
                      <a:lnTo>
                        <a:pt x="1707" y="680"/>
                      </a:lnTo>
                      <a:lnTo>
                        <a:pt x="1691" y="669"/>
                      </a:lnTo>
                      <a:lnTo>
                        <a:pt x="1674" y="661"/>
                      </a:lnTo>
                      <a:lnTo>
                        <a:pt x="1656" y="656"/>
                      </a:lnTo>
                      <a:lnTo>
                        <a:pt x="1637" y="652"/>
                      </a:lnTo>
                      <a:lnTo>
                        <a:pt x="1637" y="646"/>
                      </a:lnTo>
                      <a:lnTo>
                        <a:pt x="1640" y="633"/>
                      </a:lnTo>
                      <a:lnTo>
                        <a:pt x="1642" y="615"/>
                      </a:lnTo>
                      <a:lnTo>
                        <a:pt x="1645" y="591"/>
                      </a:lnTo>
                      <a:lnTo>
                        <a:pt x="1647" y="564"/>
                      </a:lnTo>
                      <a:lnTo>
                        <a:pt x="1651" y="534"/>
                      </a:lnTo>
                      <a:lnTo>
                        <a:pt x="1654" y="501"/>
                      </a:lnTo>
                      <a:lnTo>
                        <a:pt x="1658" y="468"/>
                      </a:lnTo>
                      <a:lnTo>
                        <a:pt x="1662" y="434"/>
                      </a:lnTo>
                      <a:lnTo>
                        <a:pt x="1665" y="401"/>
                      </a:lnTo>
                      <a:lnTo>
                        <a:pt x="1669" y="371"/>
                      </a:lnTo>
                      <a:lnTo>
                        <a:pt x="1671" y="343"/>
                      </a:lnTo>
                      <a:lnTo>
                        <a:pt x="1674" y="319"/>
                      </a:lnTo>
                      <a:lnTo>
                        <a:pt x="1676" y="301"/>
                      </a:lnTo>
                      <a:lnTo>
                        <a:pt x="1677" y="287"/>
                      </a:lnTo>
                      <a:lnTo>
                        <a:pt x="1682" y="244"/>
                      </a:lnTo>
                      <a:lnTo>
                        <a:pt x="1687" y="204"/>
                      </a:lnTo>
                      <a:lnTo>
                        <a:pt x="1693" y="167"/>
                      </a:lnTo>
                      <a:lnTo>
                        <a:pt x="1701" y="132"/>
                      </a:lnTo>
                      <a:lnTo>
                        <a:pt x="1709" y="102"/>
                      </a:lnTo>
                      <a:lnTo>
                        <a:pt x="1720" y="74"/>
                      </a:lnTo>
                      <a:lnTo>
                        <a:pt x="1733" y="50"/>
                      </a:lnTo>
                      <a:lnTo>
                        <a:pt x="1750" y="31"/>
                      </a:lnTo>
                      <a:lnTo>
                        <a:pt x="1770" y="15"/>
                      </a:lnTo>
                      <a:lnTo>
                        <a:pt x="1793" y="4"/>
                      </a:lnTo>
                      <a:lnTo>
                        <a:pt x="180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7086" tIns="43543" rIns="87086" bIns="4354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870875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</a:pPr>
                  <a:endParaRPr lang="en-GB" sz="1714" dirty="0">
                    <a:solidFill>
                      <a:prstClr val="black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0" name="Freeform 36"/>
              <p:cNvSpPr>
                <a:spLocks noEditPoints="1"/>
              </p:cNvSpPr>
              <p:nvPr/>
            </p:nvSpPr>
            <p:spPr bwMode="auto">
              <a:xfrm>
                <a:off x="881890" y="3664706"/>
                <a:ext cx="668271" cy="668271"/>
              </a:xfrm>
              <a:custGeom>
                <a:avLst/>
                <a:gdLst>
                  <a:gd name="T0" fmla="*/ 1026 w 2401"/>
                  <a:gd name="T1" fmla="*/ 296 h 2403"/>
                  <a:gd name="T2" fmla="*/ 785 w 2401"/>
                  <a:gd name="T3" fmla="*/ 379 h 2403"/>
                  <a:gd name="T4" fmla="*/ 578 w 2401"/>
                  <a:gd name="T5" fmla="*/ 521 h 2403"/>
                  <a:gd name="T6" fmla="*/ 418 w 2401"/>
                  <a:gd name="T7" fmla="*/ 712 h 2403"/>
                  <a:gd name="T8" fmla="*/ 315 w 2401"/>
                  <a:gd name="T9" fmla="*/ 942 h 2403"/>
                  <a:gd name="T10" fmla="*/ 278 w 2401"/>
                  <a:gd name="T11" fmla="*/ 1203 h 2403"/>
                  <a:gd name="T12" fmla="*/ 315 w 2401"/>
                  <a:gd name="T13" fmla="*/ 1461 h 2403"/>
                  <a:gd name="T14" fmla="*/ 418 w 2401"/>
                  <a:gd name="T15" fmla="*/ 1691 h 2403"/>
                  <a:gd name="T16" fmla="*/ 578 w 2401"/>
                  <a:gd name="T17" fmla="*/ 1883 h 2403"/>
                  <a:gd name="T18" fmla="*/ 785 w 2401"/>
                  <a:gd name="T19" fmla="*/ 2026 h 2403"/>
                  <a:gd name="T20" fmla="*/ 1026 w 2401"/>
                  <a:gd name="T21" fmla="*/ 2107 h 2403"/>
                  <a:gd name="T22" fmla="*/ 1290 w 2401"/>
                  <a:gd name="T23" fmla="*/ 2120 h 2403"/>
                  <a:gd name="T24" fmla="*/ 1541 w 2401"/>
                  <a:gd name="T25" fmla="*/ 2061 h 2403"/>
                  <a:gd name="T26" fmla="*/ 1758 w 2401"/>
                  <a:gd name="T27" fmla="*/ 1937 h 2403"/>
                  <a:gd name="T28" fmla="*/ 1934 w 2401"/>
                  <a:gd name="T29" fmla="*/ 1760 h 2403"/>
                  <a:gd name="T30" fmla="*/ 2058 w 2401"/>
                  <a:gd name="T31" fmla="*/ 1541 h 2403"/>
                  <a:gd name="T32" fmla="*/ 2119 w 2401"/>
                  <a:gd name="T33" fmla="*/ 1291 h 2403"/>
                  <a:gd name="T34" fmla="*/ 2107 w 2401"/>
                  <a:gd name="T35" fmla="*/ 1026 h 2403"/>
                  <a:gd name="T36" fmla="*/ 2024 w 2401"/>
                  <a:gd name="T37" fmla="*/ 785 h 2403"/>
                  <a:gd name="T38" fmla="*/ 1882 w 2401"/>
                  <a:gd name="T39" fmla="*/ 580 h 2403"/>
                  <a:gd name="T40" fmla="*/ 1691 w 2401"/>
                  <a:gd name="T41" fmla="*/ 420 h 2403"/>
                  <a:gd name="T42" fmla="*/ 1459 w 2401"/>
                  <a:gd name="T43" fmla="*/ 316 h 2403"/>
                  <a:gd name="T44" fmla="*/ 1201 w 2401"/>
                  <a:gd name="T45" fmla="*/ 280 h 2403"/>
                  <a:gd name="T46" fmla="*/ 1395 w 2401"/>
                  <a:gd name="T47" fmla="*/ 17 h 2403"/>
                  <a:gd name="T48" fmla="*/ 1667 w 2401"/>
                  <a:gd name="T49" fmla="*/ 95 h 2403"/>
                  <a:gd name="T50" fmla="*/ 1910 w 2401"/>
                  <a:gd name="T51" fmla="*/ 233 h 2403"/>
                  <a:gd name="T52" fmla="*/ 2112 w 2401"/>
                  <a:gd name="T53" fmla="*/ 420 h 2403"/>
                  <a:gd name="T54" fmla="*/ 2268 w 2401"/>
                  <a:gd name="T55" fmla="*/ 650 h 2403"/>
                  <a:gd name="T56" fmla="*/ 2367 w 2401"/>
                  <a:gd name="T57" fmla="*/ 913 h 2403"/>
                  <a:gd name="T58" fmla="*/ 2401 w 2401"/>
                  <a:gd name="T59" fmla="*/ 1203 h 2403"/>
                  <a:gd name="T60" fmla="*/ 2367 w 2401"/>
                  <a:gd name="T61" fmla="*/ 1490 h 2403"/>
                  <a:gd name="T62" fmla="*/ 2268 w 2401"/>
                  <a:gd name="T63" fmla="*/ 1753 h 2403"/>
                  <a:gd name="T64" fmla="*/ 2112 w 2401"/>
                  <a:gd name="T65" fmla="*/ 1983 h 2403"/>
                  <a:gd name="T66" fmla="*/ 1910 w 2401"/>
                  <a:gd name="T67" fmla="*/ 2171 h 2403"/>
                  <a:gd name="T68" fmla="*/ 1667 w 2401"/>
                  <a:gd name="T69" fmla="*/ 2308 h 2403"/>
                  <a:gd name="T70" fmla="*/ 1395 w 2401"/>
                  <a:gd name="T71" fmla="*/ 2387 h 2403"/>
                  <a:gd name="T72" fmla="*/ 1101 w 2401"/>
                  <a:gd name="T73" fmla="*/ 2399 h 2403"/>
                  <a:gd name="T74" fmla="*/ 820 w 2401"/>
                  <a:gd name="T75" fmla="*/ 2341 h 2403"/>
                  <a:gd name="T76" fmla="*/ 568 w 2401"/>
                  <a:gd name="T77" fmla="*/ 2223 h 2403"/>
                  <a:gd name="T78" fmla="*/ 351 w 2401"/>
                  <a:gd name="T79" fmla="*/ 2051 h 2403"/>
                  <a:gd name="T80" fmla="*/ 180 w 2401"/>
                  <a:gd name="T81" fmla="*/ 1835 h 2403"/>
                  <a:gd name="T82" fmla="*/ 60 w 2401"/>
                  <a:gd name="T83" fmla="*/ 1581 h 2403"/>
                  <a:gd name="T84" fmla="*/ 4 w 2401"/>
                  <a:gd name="T85" fmla="*/ 1300 h 2403"/>
                  <a:gd name="T86" fmla="*/ 15 w 2401"/>
                  <a:gd name="T87" fmla="*/ 1007 h 2403"/>
                  <a:gd name="T88" fmla="*/ 93 w 2401"/>
                  <a:gd name="T89" fmla="*/ 734 h 2403"/>
                  <a:gd name="T90" fmla="*/ 231 w 2401"/>
                  <a:gd name="T91" fmla="*/ 492 h 2403"/>
                  <a:gd name="T92" fmla="*/ 418 w 2401"/>
                  <a:gd name="T93" fmla="*/ 290 h 2403"/>
                  <a:gd name="T94" fmla="*/ 648 w 2401"/>
                  <a:gd name="T95" fmla="*/ 135 h 2403"/>
                  <a:gd name="T96" fmla="*/ 911 w 2401"/>
                  <a:gd name="T97" fmla="*/ 36 h 2403"/>
                  <a:gd name="T98" fmla="*/ 1201 w 2401"/>
                  <a:gd name="T99" fmla="*/ 0 h 2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01" h="2403">
                    <a:moveTo>
                      <a:pt x="1201" y="280"/>
                    </a:moveTo>
                    <a:lnTo>
                      <a:pt x="1111" y="284"/>
                    </a:lnTo>
                    <a:lnTo>
                      <a:pt x="1026" y="296"/>
                    </a:lnTo>
                    <a:lnTo>
                      <a:pt x="942" y="316"/>
                    </a:lnTo>
                    <a:lnTo>
                      <a:pt x="860" y="343"/>
                    </a:lnTo>
                    <a:lnTo>
                      <a:pt x="785" y="379"/>
                    </a:lnTo>
                    <a:lnTo>
                      <a:pt x="710" y="420"/>
                    </a:lnTo>
                    <a:lnTo>
                      <a:pt x="643" y="467"/>
                    </a:lnTo>
                    <a:lnTo>
                      <a:pt x="578" y="521"/>
                    </a:lnTo>
                    <a:lnTo>
                      <a:pt x="519" y="580"/>
                    </a:lnTo>
                    <a:lnTo>
                      <a:pt x="467" y="643"/>
                    </a:lnTo>
                    <a:lnTo>
                      <a:pt x="418" y="712"/>
                    </a:lnTo>
                    <a:lnTo>
                      <a:pt x="377" y="785"/>
                    </a:lnTo>
                    <a:lnTo>
                      <a:pt x="343" y="862"/>
                    </a:lnTo>
                    <a:lnTo>
                      <a:pt x="315" y="942"/>
                    </a:lnTo>
                    <a:lnTo>
                      <a:pt x="294" y="1026"/>
                    </a:lnTo>
                    <a:lnTo>
                      <a:pt x="282" y="1113"/>
                    </a:lnTo>
                    <a:lnTo>
                      <a:pt x="278" y="1203"/>
                    </a:lnTo>
                    <a:lnTo>
                      <a:pt x="282" y="1291"/>
                    </a:lnTo>
                    <a:lnTo>
                      <a:pt x="294" y="1377"/>
                    </a:lnTo>
                    <a:lnTo>
                      <a:pt x="315" y="1461"/>
                    </a:lnTo>
                    <a:lnTo>
                      <a:pt x="343" y="1541"/>
                    </a:lnTo>
                    <a:lnTo>
                      <a:pt x="377" y="1618"/>
                    </a:lnTo>
                    <a:lnTo>
                      <a:pt x="418" y="1691"/>
                    </a:lnTo>
                    <a:lnTo>
                      <a:pt x="467" y="1760"/>
                    </a:lnTo>
                    <a:lnTo>
                      <a:pt x="519" y="1824"/>
                    </a:lnTo>
                    <a:lnTo>
                      <a:pt x="578" y="1883"/>
                    </a:lnTo>
                    <a:lnTo>
                      <a:pt x="643" y="1937"/>
                    </a:lnTo>
                    <a:lnTo>
                      <a:pt x="710" y="1985"/>
                    </a:lnTo>
                    <a:lnTo>
                      <a:pt x="785" y="2026"/>
                    </a:lnTo>
                    <a:lnTo>
                      <a:pt x="860" y="2061"/>
                    </a:lnTo>
                    <a:lnTo>
                      <a:pt x="942" y="2088"/>
                    </a:lnTo>
                    <a:lnTo>
                      <a:pt x="1026" y="2107"/>
                    </a:lnTo>
                    <a:lnTo>
                      <a:pt x="1111" y="2120"/>
                    </a:lnTo>
                    <a:lnTo>
                      <a:pt x="1201" y="2125"/>
                    </a:lnTo>
                    <a:lnTo>
                      <a:pt x="1290" y="2120"/>
                    </a:lnTo>
                    <a:lnTo>
                      <a:pt x="1375" y="2107"/>
                    </a:lnTo>
                    <a:lnTo>
                      <a:pt x="1459" y="2088"/>
                    </a:lnTo>
                    <a:lnTo>
                      <a:pt x="1541" y="2061"/>
                    </a:lnTo>
                    <a:lnTo>
                      <a:pt x="1616" y="2026"/>
                    </a:lnTo>
                    <a:lnTo>
                      <a:pt x="1691" y="1985"/>
                    </a:lnTo>
                    <a:lnTo>
                      <a:pt x="1758" y="1937"/>
                    </a:lnTo>
                    <a:lnTo>
                      <a:pt x="1823" y="1883"/>
                    </a:lnTo>
                    <a:lnTo>
                      <a:pt x="1882" y="1824"/>
                    </a:lnTo>
                    <a:lnTo>
                      <a:pt x="1934" y="1760"/>
                    </a:lnTo>
                    <a:lnTo>
                      <a:pt x="1983" y="1691"/>
                    </a:lnTo>
                    <a:lnTo>
                      <a:pt x="2024" y="1618"/>
                    </a:lnTo>
                    <a:lnTo>
                      <a:pt x="2058" y="1541"/>
                    </a:lnTo>
                    <a:lnTo>
                      <a:pt x="2086" y="1461"/>
                    </a:lnTo>
                    <a:lnTo>
                      <a:pt x="2107" y="1377"/>
                    </a:lnTo>
                    <a:lnTo>
                      <a:pt x="2119" y="1291"/>
                    </a:lnTo>
                    <a:lnTo>
                      <a:pt x="2123" y="1203"/>
                    </a:lnTo>
                    <a:lnTo>
                      <a:pt x="2119" y="1113"/>
                    </a:lnTo>
                    <a:lnTo>
                      <a:pt x="2107" y="1026"/>
                    </a:lnTo>
                    <a:lnTo>
                      <a:pt x="2086" y="942"/>
                    </a:lnTo>
                    <a:lnTo>
                      <a:pt x="2058" y="862"/>
                    </a:lnTo>
                    <a:lnTo>
                      <a:pt x="2024" y="785"/>
                    </a:lnTo>
                    <a:lnTo>
                      <a:pt x="1983" y="712"/>
                    </a:lnTo>
                    <a:lnTo>
                      <a:pt x="1934" y="643"/>
                    </a:lnTo>
                    <a:lnTo>
                      <a:pt x="1882" y="580"/>
                    </a:lnTo>
                    <a:lnTo>
                      <a:pt x="1823" y="521"/>
                    </a:lnTo>
                    <a:lnTo>
                      <a:pt x="1758" y="467"/>
                    </a:lnTo>
                    <a:lnTo>
                      <a:pt x="1691" y="420"/>
                    </a:lnTo>
                    <a:lnTo>
                      <a:pt x="1616" y="379"/>
                    </a:lnTo>
                    <a:lnTo>
                      <a:pt x="1541" y="343"/>
                    </a:lnTo>
                    <a:lnTo>
                      <a:pt x="1459" y="316"/>
                    </a:lnTo>
                    <a:lnTo>
                      <a:pt x="1375" y="296"/>
                    </a:lnTo>
                    <a:lnTo>
                      <a:pt x="1290" y="284"/>
                    </a:lnTo>
                    <a:lnTo>
                      <a:pt x="1201" y="280"/>
                    </a:lnTo>
                    <a:close/>
                    <a:moveTo>
                      <a:pt x="1201" y="0"/>
                    </a:moveTo>
                    <a:lnTo>
                      <a:pt x="1300" y="5"/>
                    </a:lnTo>
                    <a:lnTo>
                      <a:pt x="1395" y="17"/>
                    </a:lnTo>
                    <a:lnTo>
                      <a:pt x="1490" y="36"/>
                    </a:lnTo>
                    <a:lnTo>
                      <a:pt x="1581" y="62"/>
                    </a:lnTo>
                    <a:lnTo>
                      <a:pt x="1667" y="95"/>
                    </a:lnTo>
                    <a:lnTo>
                      <a:pt x="1753" y="135"/>
                    </a:lnTo>
                    <a:lnTo>
                      <a:pt x="1833" y="181"/>
                    </a:lnTo>
                    <a:lnTo>
                      <a:pt x="1910" y="233"/>
                    </a:lnTo>
                    <a:lnTo>
                      <a:pt x="1983" y="290"/>
                    </a:lnTo>
                    <a:lnTo>
                      <a:pt x="2050" y="353"/>
                    </a:lnTo>
                    <a:lnTo>
                      <a:pt x="2112" y="420"/>
                    </a:lnTo>
                    <a:lnTo>
                      <a:pt x="2170" y="492"/>
                    </a:lnTo>
                    <a:lnTo>
                      <a:pt x="2221" y="569"/>
                    </a:lnTo>
                    <a:lnTo>
                      <a:pt x="2268" y="650"/>
                    </a:lnTo>
                    <a:lnTo>
                      <a:pt x="2308" y="734"/>
                    </a:lnTo>
                    <a:lnTo>
                      <a:pt x="2341" y="823"/>
                    </a:lnTo>
                    <a:lnTo>
                      <a:pt x="2367" y="913"/>
                    </a:lnTo>
                    <a:lnTo>
                      <a:pt x="2386" y="1007"/>
                    </a:lnTo>
                    <a:lnTo>
                      <a:pt x="2397" y="1103"/>
                    </a:lnTo>
                    <a:lnTo>
                      <a:pt x="2401" y="1203"/>
                    </a:lnTo>
                    <a:lnTo>
                      <a:pt x="2397" y="1300"/>
                    </a:lnTo>
                    <a:lnTo>
                      <a:pt x="2386" y="1397"/>
                    </a:lnTo>
                    <a:lnTo>
                      <a:pt x="2367" y="1490"/>
                    </a:lnTo>
                    <a:lnTo>
                      <a:pt x="2341" y="1581"/>
                    </a:lnTo>
                    <a:lnTo>
                      <a:pt x="2308" y="1669"/>
                    </a:lnTo>
                    <a:lnTo>
                      <a:pt x="2268" y="1753"/>
                    </a:lnTo>
                    <a:lnTo>
                      <a:pt x="2221" y="1835"/>
                    </a:lnTo>
                    <a:lnTo>
                      <a:pt x="2170" y="1912"/>
                    </a:lnTo>
                    <a:lnTo>
                      <a:pt x="2112" y="1983"/>
                    </a:lnTo>
                    <a:lnTo>
                      <a:pt x="2050" y="2051"/>
                    </a:lnTo>
                    <a:lnTo>
                      <a:pt x="1983" y="2114"/>
                    </a:lnTo>
                    <a:lnTo>
                      <a:pt x="1910" y="2171"/>
                    </a:lnTo>
                    <a:lnTo>
                      <a:pt x="1833" y="2223"/>
                    </a:lnTo>
                    <a:lnTo>
                      <a:pt x="1753" y="2268"/>
                    </a:lnTo>
                    <a:lnTo>
                      <a:pt x="1667" y="2308"/>
                    </a:lnTo>
                    <a:lnTo>
                      <a:pt x="1581" y="2341"/>
                    </a:lnTo>
                    <a:lnTo>
                      <a:pt x="1490" y="2368"/>
                    </a:lnTo>
                    <a:lnTo>
                      <a:pt x="1395" y="2387"/>
                    </a:lnTo>
                    <a:lnTo>
                      <a:pt x="1300" y="2399"/>
                    </a:lnTo>
                    <a:lnTo>
                      <a:pt x="1201" y="2403"/>
                    </a:lnTo>
                    <a:lnTo>
                      <a:pt x="1101" y="2399"/>
                    </a:lnTo>
                    <a:lnTo>
                      <a:pt x="1006" y="2387"/>
                    </a:lnTo>
                    <a:lnTo>
                      <a:pt x="911" y="2368"/>
                    </a:lnTo>
                    <a:lnTo>
                      <a:pt x="820" y="2341"/>
                    </a:lnTo>
                    <a:lnTo>
                      <a:pt x="734" y="2308"/>
                    </a:lnTo>
                    <a:lnTo>
                      <a:pt x="648" y="2268"/>
                    </a:lnTo>
                    <a:lnTo>
                      <a:pt x="568" y="2223"/>
                    </a:lnTo>
                    <a:lnTo>
                      <a:pt x="491" y="2171"/>
                    </a:lnTo>
                    <a:lnTo>
                      <a:pt x="418" y="2114"/>
                    </a:lnTo>
                    <a:lnTo>
                      <a:pt x="351" y="2051"/>
                    </a:lnTo>
                    <a:lnTo>
                      <a:pt x="289" y="1983"/>
                    </a:lnTo>
                    <a:lnTo>
                      <a:pt x="231" y="1912"/>
                    </a:lnTo>
                    <a:lnTo>
                      <a:pt x="180" y="1835"/>
                    </a:lnTo>
                    <a:lnTo>
                      <a:pt x="133" y="1753"/>
                    </a:lnTo>
                    <a:lnTo>
                      <a:pt x="93" y="1669"/>
                    </a:lnTo>
                    <a:lnTo>
                      <a:pt x="60" y="1581"/>
                    </a:lnTo>
                    <a:lnTo>
                      <a:pt x="34" y="1490"/>
                    </a:lnTo>
                    <a:lnTo>
                      <a:pt x="15" y="1397"/>
                    </a:lnTo>
                    <a:lnTo>
                      <a:pt x="4" y="1300"/>
                    </a:lnTo>
                    <a:lnTo>
                      <a:pt x="0" y="1203"/>
                    </a:lnTo>
                    <a:lnTo>
                      <a:pt x="4" y="1103"/>
                    </a:lnTo>
                    <a:lnTo>
                      <a:pt x="15" y="1007"/>
                    </a:lnTo>
                    <a:lnTo>
                      <a:pt x="34" y="913"/>
                    </a:lnTo>
                    <a:lnTo>
                      <a:pt x="60" y="823"/>
                    </a:lnTo>
                    <a:lnTo>
                      <a:pt x="93" y="734"/>
                    </a:lnTo>
                    <a:lnTo>
                      <a:pt x="133" y="650"/>
                    </a:lnTo>
                    <a:lnTo>
                      <a:pt x="180" y="569"/>
                    </a:lnTo>
                    <a:lnTo>
                      <a:pt x="231" y="492"/>
                    </a:lnTo>
                    <a:lnTo>
                      <a:pt x="289" y="420"/>
                    </a:lnTo>
                    <a:lnTo>
                      <a:pt x="351" y="353"/>
                    </a:lnTo>
                    <a:lnTo>
                      <a:pt x="418" y="290"/>
                    </a:lnTo>
                    <a:lnTo>
                      <a:pt x="491" y="233"/>
                    </a:lnTo>
                    <a:lnTo>
                      <a:pt x="568" y="181"/>
                    </a:lnTo>
                    <a:lnTo>
                      <a:pt x="648" y="135"/>
                    </a:lnTo>
                    <a:lnTo>
                      <a:pt x="734" y="95"/>
                    </a:lnTo>
                    <a:lnTo>
                      <a:pt x="820" y="62"/>
                    </a:lnTo>
                    <a:lnTo>
                      <a:pt x="911" y="36"/>
                    </a:lnTo>
                    <a:lnTo>
                      <a:pt x="1006" y="17"/>
                    </a:lnTo>
                    <a:lnTo>
                      <a:pt x="1101" y="5"/>
                    </a:lnTo>
                    <a:lnTo>
                      <a:pt x="120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0875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</a:pPr>
                <a:endParaRPr lang="en-GB" sz="1714" dirty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8" name="Freeform 282"/>
            <p:cNvSpPr>
              <a:spLocks/>
            </p:cNvSpPr>
            <p:nvPr/>
          </p:nvSpPr>
          <p:spPr bwMode="auto">
            <a:xfrm>
              <a:off x="2319781" y="2035371"/>
              <a:ext cx="120165" cy="138229"/>
            </a:xfrm>
            <a:custGeom>
              <a:avLst/>
              <a:gdLst>
                <a:gd name="T0" fmla="*/ 17 w 70"/>
                <a:gd name="T1" fmla="*/ 34 h 79"/>
                <a:gd name="T2" fmla="*/ 9 w 70"/>
                <a:gd name="T3" fmla="*/ 34 h 79"/>
                <a:gd name="T4" fmla="*/ 9 w 70"/>
                <a:gd name="T5" fmla="*/ 44 h 79"/>
                <a:gd name="T6" fmla="*/ 18 w 70"/>
                <a:gd name="T7" fmla="*/ 44 h 79"/>
                <a:gd name="T8" fmla="*/ 19 w 70"/>
                <a:gd name="T9" fmla="*/ 52 h 79"/>
                <a:gd name="T10" fmla="*/ 16 w 70"/>
                <a:gd name="T11" fmla="*/ 60 h 79"/>
                <a:gd name="T12" fmla="*/ 10 w 70"/>
                <a:gd name="T13" fmla="*/ 65 h 79"/>
                <a:gd name="T14" fmla="*/ 0 w 70"/>
                <a:gd name="T15" fmla="*/ 66 h 79"/>
                <a:gd name="T16" fmla="*/ 0 w 70"/>
                <a:gd name="T17" fmla="*/ 79 h 79"/>
                <a:gd name="T18" fmla="*/ 43 w 70"/>
                <a:gd name="T19" fmla="*/ 79 h 79"/>
                <a:gd name="T20" fmla="*/ 56 w 70"/>
                <a:gd name="T21" fmla="*/ 78 h 79"/>
                <a:gd name="T22" fmla="*/ 64 w 70"/>
                <a:gd name="T23" fmla="*/ 72 h 79"/>
                <a:gd name="T24" fmla="*/ 70 w 70"/>
                <a:gd name="T25" fmla="*/ 61 h 79"/>
                <a:gd name="T26" fmla="*/ 58 w 70"/>
                <a:gd name="T27" fmla="*/ 55 h 79"/>
                <a:gd name="T28" fmla="*/ 54 w 70"/>
                <a:gd name="T29" fmla="*/ 64 h 79"/>
                <a:gd name="T30" fmla="*/ 38 w 70"/>
                <a:gd name="T31" fmla="*/ 66 h 79"/>
                <a:gd name="T32" fmla="*/ 23 w 70"/>
                <a:gd name="T33" fmla="*/ 66 h 79"/>
                <a:gd name="T34" fmla="*/ 30 w 70"/>
                <a:gd name="T35" fmla="*/ 57 h 79"/>
                <a:gd name="T36" fmla="*/ 32 w 70"/>
                <a:gd name="T37" fmla="*/ 44 h 79"/>
                <a:gd name="T38" fmla="*/ 46 w 70"/>
                <a:gd name="T39" fmla="*/ 44 h 79"/>
                <a:gd name="T40" fmla="*/ 46 w 70"/>
                <a:gd name="T41" fmla="*/ 34 h 79"/>
                <a:gd name="T42" fmla="*/ 32 w 70"/>
                <a:gd name="T43" fmla="*/ 34 h 79"/>
                <a:gd name="T44" fmla="*/ 30 w 70"/>
                <a:gd name="T45" fmla="*/ 23 h 79"/>
                <a:gd name="T46" fmla="*/ 33 w 70"/>
                <a:gd name="T47" fmla="*/ 14 h 79"/>
                <a:gd name="T48" fmla="*/ 40 w 70"/>
                <a:gd name="T49" fmla="*/ 11 h 79"/>
                <a:gd name="T50" fmla="*/ 51 w 70"/>
                <a:gd name="T51" fmla="*/ 20 h 79"/>
                <a:gd name="T52" fmla="*/ 62 w 70"/>
                <a:gd name="T53" fmla="*/ 14 h 79"/>
                <a:gd name="T54" fmla="*/ 40 w 70"/>
                <a:gd name="T55" fmla="*/ 0 h 79"/>
                <a:gd name="T56" fmla="*/ 23 w 70"/>
                <a:gd name="T57" fmla="*/ 7 h 79"/>
                <a:gd name="T58" fmla="*/ 16 w 70"/>
                <a:gd name="T59" fmla="*/ 24 h 79"/>
                <a:gd name="T60" fmla="*/ 17 w 70"/>
                <a:gd name="T61" fmla="*/ 3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0" h="79">
                  <a:moveTo>
                    <a:pt x="17" y="34"/>
                  </a:moveTo>
                  <a:cubicBezTo>
                    <a:pt x="9" y="34"/>
                    <a:pt x="9" y="34"/>
                    <a:pt x="9" y="3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9" y="48"/>
                    <a:pt x="19" y="50"/>
                    <a:pt x="19" y="52"/>
                  </a:cubicBezTo>
                  <a:cubicBezTo>
                    <a:pt x="19" y="55"/>
                    <a:pt x="18" y="57"/>
                    <a:pt x="16" y="60"/>
                  </a:cubicBezTo>
                  <a:cubicBezTo>
                    <a:pt x="15" y="63"/>
                    <a:pt x="13" y="64"/>
                    <a:pt x="10" y="65"/>
                  </a:cubicBezTo>
                  <a:cubicBezTo>
                    <a:pt x="8" y="66"/>
                    <a:pt x="5" y="66"/>
                    <a:pt x="0" y="6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9" y="79"/>
                    <a:pt x="53" y="79"/>
                    <a:pt x="56" y="78"/>
                  </a:cubicBezTo>
                  <a:cubicBezTo>
                    <a:pt x="59" y="76"/>
                    <a:pt x="62" y="75"/>
                    <a:pt x="64" y="72"/>
                  </a:cubicBezTo>
                  <a:cubicBezTo>
                    <a:pt x="67" y="69"/>
                    <a:pt x="69" y="66"/>
                    <a:pt x="70" y="61"/>
                  </a:cubicBezTo>
                  <a:cubicBezTo>
                    <a:pt x="58" y="55"/>
                    <a:pt x="58" y="55"/>
                    <a:pt x="58" y="55"/>
                  </a:cubicBezTo>
                  <a:cubicBezTo>
                    <a:pt x="57" y="59"/>
                    <a:pt x="56" y="62"/>
                    <a:pt x="54" y="64"/>
                  </a:cubicBezTo>
                  <a:cubicBezTo>
                    <a:pt x="51" y="65"/>
                    <a:pt x="46" y="66"/>
                    <a:pt x="38" y="66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27" y="63"/>
                    <a:pt x="29" y="60"/>
                    <a:pt x="30" y="57"/>
                  </a:cubicBezTo>
                  <a:cubicBezTo>
                    <a:pt x="32" y="54"/>
                    <a:pt x="32" y="50"/>
                    <a:pt x="32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1" y="29"/>
                    <a:pt x="30" y="26"/>
                    <a:pt x="30" y="23"/>
                  </a:cubicBezTo>
                  <a:cubicBezTo>
                    <a:pt x="30" y="19"/>
                    <a:pt x="31" y="16"/>
                    <a:pt x="33" y="14"/>
                  </a:cubicBezTo>
                  <a:cubicBezTo>
                    <a:pt x="35" y="12"/>
                    <a:pt x="37" y="11"/>
                    <a:pt x="40" y="11"/>
                  </a:cubicBezTo>
                  <a:cubicBezTo>
                    <a:pt x="46" y="11"/>
                    <a:pt x="49" y="14"/>
                    <a:pt x="51" y="20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57" y="5"/>
                    <a:pt x="50" y="0"/>
                    <a:pt x="40" y="0"/>
                  </a:cubicBezTo>
                  <a:cubicBezTo>
                    <a:pt x="33" y="0"/>
                    <a:pt x="27" y="2"/>
                    <a:pt x="23" y="7"/>
                  </a:cubicBezTo>
                  <a:cubicBezTo>
                    <a:pt x="18" y="11"/>
                    <a:pt x="16" y="17"/>
                    <a:pt x="16" y="24"/>
                  </a:cubicBezTo>
                  <a:cubicBezTo>
                    <a:pt x="16" y="26"/>
                    <a:pt x="16" y="29"/>
                    <a:pt x="17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3" name="Group 52"/>
          <p:cNvGrpSpPr>
            <a:grpSpLocks noChangeAspect="1"/>
          </p:cNvGrpSpPr>
          <p:nvPr/>
        </p:nvGrpSpPr>
        <p:grpSpPr bwMode="auto">
          <a:xfrm>
            <a:off x="511648" y="2646735"/>
            <a:ext cx="435153" cy="447022"/>
            <a:chOff x="1652" y="2226"/>
            <a:chExt cx="550" cy="565"/>
          </a:xfrm>
          <a:solidFill>
            <a:schemeClr val="tx2"/>
          </a:solidFill>
        </p:grpSpPr>
        <p:sp>
          <p:nvSpPr>
            <p:cNvPr id="54" name="Freeform 54"/>
            <p:cNvSpPr>
              <a:spLocks noEditPoints="1"/>
            </p:cNvSpPr>
            <p:nvPr/>
          </p:nvSpPr>
          <p:spPr bwMode="auto">
            <a:xfrm>
              <a:off x="1652" y="2226"/>
              <a:ext cx="272" cy="272"/>
            </a:xfrm>
            <a:custGeom>
              <a:avLst/>
              <a:gdLst>
                <a:gd name="T0" fmla="*/ 518 w 1630"/>
                <a:gd name="T1" fmla="*/ 334 h 1630"/>
                <a:gd name="T2" fmla="*/ 472 w 1630"/>
                <a:gd name="T3" fmla="*/ 353 h 1630"/>
                <a:gd name="T4" fmla="*/ 439 w 1630"/>
                <a:gd name="T5" fmla="*/ 391 h 1630"/>
                <a:gd name="T6" fmla="*/ 434 w 1630"/>
                <a:gd name="T7" fmla="*/ 450 h 1630"/>
                <a:gd name="T8" fmla="*/ 631 w 1630"/>
                <a:gd name="T9" fmla="*/ 782 h 1630"/>
                <a:gd name="T10" fmla="*/ 516 w 1630"/>
                <a:gd name="T11" fmla="*/ 792 h 1630"/>
                <a:gd name="T12" fmla="*/ 495 w 1630"/>
                <a:gd name="T13" fmla="*/ 836 h 1630"/>
                <a:gd name="T14" fmla="*/ 516 w 1630"/>
                <a:gd name="T15" fmla="*/ 878 h 1630"/>
                <a:gd name="T16" fmla="*/ 693 w 1630"/>
                <a:gd name="T17" fmla="*/ 888 h 1630"/>
                <a:gd name="T18" fmla="*/ 548 w 1630"/>
                <a:gd name="T19" fmla="*/ 968 h 1630"/>
                <a:gd name="T20" fmla="*/ 504 w 1630"/>
                <a:gd name="T21" fmla="*/ 989 h 1630"/>
                <a:gd name="T22" fmla="*/ 497 w 1630"/>
                <a:gd name="T23" fmla="*/ 1038 h 1630"/>
                <a:gd name="T24" fmla="*/ 530 w 1630"/>
                <a:gd name="T25" fmla="*/ 1071 h 1630"/>
                <a:gd name="T26" fmla="*/ 716 w 1630"/>
                <a:gd name="T27" fmla="*/ 1208 h 1630"/>
                <a:gd name="T28" fmla="*/ 732 w 1630"/>
                <a:gd name="T29" fmla="*/ 1271 h 1630"/>
                <a:gd name="T30" fmla="*/ 779 w 1630"/>
                <a:gd name="T31" fmla="*/ 1310 h 1630"/>
                <a:gd name="T32" fmla="*/ 848 w 1630"/>
                <a:gd name="T33" fmla="*/ 1315 h 1630"/>
                <a:gd name="T34" fmla="*/ 904 w 1630"/>
                <a:gd name="T35" fmla="*/ 1287 h 1630"/>
                <a:gd name="T36" fmla="*/ 929 w 1630"/>
                <a:gd name="T37" fmla="*/ 1232 h 1630"/>
                <a:gd name="T38" fmla="*/ 1101 w 1630"/>
                <a:gd name="T39" fmla="*/ 1074 h 1630"/>
                <a:gd name="T40" fmla="*/ 1144 w 1630"/>
                <a:gd name="T41" fmla="*/ 1052 h 1630"/>
                <a:gd name="T42" fmla="*/ 1151 w 1630"/>
                <a:gd name="T43" fmla="*/ 1004 h 1630"/>
                <a:gd name="T44" fmla="*/ 1118 w 1630"/>
                <a:gd name="T45" fmla="*/ 970 h 1630"/>
                <a:gd name="T46" fmla="*/ 932 w 1630"/>
                <a:gd name="T47" fmla="*/ 928 h 1630"/>
                <a:gd name="T48" fmla="*/ 1118 w 1630"/>
                <a:gd name="T49" fmla="*/ 886 h 1630"/>
                <a:gd name="T50" fmla="*/ 1151 w 1630"/>
                <a:gd name="T51" fmla="*/ 853 h 1630"/>
                <a:gd name="T52" fmla="*/ 1144 w 1630"/>
                <a:gd name="T53" fmla="*/ 804 h 1630"/>
                <a:gd name="T54" fmla="*/ 1101 w 1630"/>
                <a:gd name="T55" fmla="*/ 782 h 1630"/>
                <a:gd name="T56" fmla="*/ 1207 w 1630"/>
                <a:gd name="T57" fmla="*/ 469 h 1630"/>
                <a:gd name="T58" fmla="*/ 1215 w 1630"/>
                <a:gd name="T59" fmla="*/ 409 h 1630"/>
                <a:gd name="T60" fmla="*/ 1189 w 1630"/>
                <a:gd name="T61" fmla="*/ 364 h 1630"/>
                <a:gd name="T62" fmla="*/ 1146 w 1630"/>
                <a:gd name="T63" fmla="*/ 338 h 1630"/>
                <a:gd name="T64" fmla="*/ 1099 w 1630"/>
                <a:gd name="T65" fmla="*/ 332 h 1630"/>
                <a:gd name="T66" fmla="*/ 1048 w 1630"/>
                <a:gd name="T67" fmla="*/ 346 h 1630"/>
                <a:gd name="T68" fmla="*/ 1017 w 1630"/>
                <a:gd name="T69" fmla="*/ 376 h 1630"/>
                <a:gd name="T70" fmla="*/ 824 w 1630"/>
                <a:gd name="T71" fmla="*/ 743 h 1630"/>
                <a:gd name="T72" fmla="*/ 631 w 1630"/>
                <a:gd name="T73" fmla="*/ 376 h 1630"/>
                <a:gd name="T74" fmla="*/ 601 w 1630"/>
                <a:gd name="T75" fmla="*/ 346 h 1630"/>
                <a:gd name="T76" fmla="*/ 549 w 1630"/>
                <a:gd name="T77" fmla="*/ 332 h 1630"/>
                <a:gd name="T78" fmla="*/ 968 w 1630"/>
                <a:gd name="T79" fmla="*/ 13 h 1630"/>
                <a:gd name="T80" fmla="*/ 1169 w 1630"/>
                <a:gd name="T81" fmla="*/ 76 h 1630"/>
                <a:gd name="T82" fmla="*/ 1344 w 1630"/>
                <a:gd name="T83" fmla="*/ 185 h 1630"/>
                <a:gd name="T84" fmla="*/ 1486 w 1630"/>
                <a:gd name="T85" fmla="*/ 334 h 1630"/>
                <a:gd name="T86" fmla="*/ 1587 w 1630"/>
                <a:gd name="T87" fmla="*/ 514 h 1630"/>
                <a:gd name="T88" fmla="*/ 1588 w 1630"/>
                <a:gd name="T89" fmla="*/ 710 h 1630"/>
                <a:gd name="T90" fmla="*/ 1494 w 1630"/>
                <a:gd name="T91" fmla="*/ 915 h 1630"/>
                <a:gd name="T92" fmla="*/ 1447 w 1630"/>
                <a:gd name="T93" fmla="*/ 1141 h 1630"/>
                <a:gd name="T94" fmla="*/ 1192 w 1630"/>
                <a:gd name="T95" fmla="*/ 1212 h 1630"/>
                <a:gd name="T96" fmla="*/ 961 w 1630"/>
                <a:gd name="T97" fmla="*/ 1333 h 1630"/>
                <a:gd name="T98" fmla="*/ 763 w 1630"/>
                <a:gd name="T99" fmla="*/ 1498 h 1630"/>
                <a:gd name="T100" fmla="*/ 584 w 1630"/>
                <a:gd name="T101" fmla="*/ 1612 h 1630"/>
                <a:gd name="T102" fmla="*/ 393 w 1630"/>
                <a:gd name="T103" fmla="*/ 1527 h 1630"/>
                <a:gd name="T104" fmla="*/ 232 w 1630"/>
                <a:gd name="T105" fmla="*/ 1397 h 1630"/>
                <a:gd name="T106" fmla="*/ 108 w 1630"/>
                <a:gd name="T107" fmla="*/ 1232 h 1630"/>
                <a:gd name="T108" fmla="*/ 28 w 1630"/>
                <a:gd name="T109" fmla="*/ 1039 h 1630"/>
                <a:gd name="T110" fmla="*/ 0 w 1630"/>
                <a:gd name="T111" fmla="*/ 825 h 1630"/>
                <a:gd name="T112" fmla="*/ 29 w 1630"/>
                <a:gd name="T113" fmla="*/ 605 h 1630"/>
                <a:gd name="T114" fmla="*/ 112 w 1630"/>
                <a:gd name="T115" fmla="*/ 408 h 1630"/>
                <a:gd name="T116" fmla="*/ 241 w 1630"/>
                <a:gd name="T117" fmla="*/ 242 h 1630"/>
                <a:gd name="T118" fmla="*/ 408 w 1630"/>
                <a:gd name="T119" fmla="*/ 113 h 1630"/>
                <a:gd name="T120" fmla="*/ 605 w 1630"/>
                <a:gd name="T121" fmla="*/ 30 h 1630"/>
                <a:gd name="T122" fmla="*/ 824 w 1630"/>
                <a:gd name="T123" fmla="*/ 0 h 1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30" h="1630">
                  <a:moveTo>
                    <a:pt x="549" y="332"/>
                  </a:moveTo>
                  <a:lnTo>
                    <a:pt x="534" y="332"/>
                  </a:lnTo>
                  <a:lnTo>
                    <a:pt x="518" y="334"/>
                  </a:lnTo>
                  <a:lnTo>
                    <a:pt x="502" y="338"/>
                  </a:lnTo>
                  <a:lnTo>
                    <a:pt x="487" y="344"/>
                  </a:lnTo>
                  <a:lnTo>
                    <a:pt x="472" y="353"/>
                  </a:lnTo>
                  <a:lnTo>
                    <a:pt x="459" y="364"/>
                  </a:lnTo>
                  <a:lnTo>
                    <a:pt x="448" y="376"/>
                  </a:lnTo>
                  <a:lnTo>
                    <a:pt x="439" y="391"/>
                  </a:lnTo>
                  <a:lnTo>
                    <a:pt x="434" y="409"/>
                  </a:lnTo>
                  <a:lnTo>
                    <a:pt x="432" y="431"/>
                  </a:lnTo>
                  <a:lnTo>
                    <a:pt x="434" y="450"/>
                  </a:lnTo>
                  <a:lnTo>
                    <a:pt x="441" y="469"/>
                  </a:lnTo>
                  <a:lnTo>
                    <a:pt x="451" y="486"/>
                  </a:lnTo>
                  <a:lnTo>
                    <a:pt x="631" y="782"/>
                  </a:lnTo>
                  <a:lnTo>
                    <a:pt x="548" y="782"/>
                  </a:lnTo>
                  <a:lnTo>
                    <a:pt x="530" y="784"/>
                  </a:lnTo>
                  <a:lnTo>
                    <a:pt x="516" y="792"/>
                  </a:lnTo>
                  <a:lnTo>
                    <a:pt x="504" y="804"/>
                  </a:lnTo>
                  <a:lnTo>
                    <a:pt x="497" y="818"/>
                  </a:lnTo>
                  <a:lnTo>
                    <a:pt x="495" y="836"/>
                  </a:lnTo>
                  <a:lnTo>
                    <a:pt x="497" y="853"/>
                  </a:lnTo>
                  <a:lnTo>
                    <a:pt x="504" y="866"/>
                  </a:lnTo>
                  <a:lnTo>
                    <a:pt x="516" y="878"/>
                  </a:lnTo>
                  <a:lnTo>
                    <a:pt x="530" y="886"/>
                  </a:lnTo>
                  <a:lnTo>
                    <a:pt x="548" y="888"/>
                  </a:lnTo>
                  <a:lnTo>
                    <a:pt x="693" y="888"/>
                  </a:lnTo>
                  <a:lnTo>
                    <a:pt x="716" y="928"/>
                  </a:lnTo>
                  <a:lnTo>
                    <a:pt x="716" y="968"/>
                  </a:lnTo>
                  <a:lnTo>
                    <a:pt x="548" y="968"/>
                  </a:lnTo>
                  <a:lnTo>
                    <a:pt x="530" y="970"/>
                  </a:lnTo>
                  <a:lnTo>
                    <a:pt x="516" y="977"/>
                  </a:lnTo>
                  <a:lnTo>
                    <a:pt x="504" y="989"/>
                  </a:lnTo>
                  <a:lnTo>
                    <a:pt x="497" y="1004"/>
                  </a:lnTo>
                  <a:lnTo>
                    <a:pt x="495" y="1021"/>
                  </a:lnTo>
                  <a:lnTo>
                    <a:pt x="497" y="1038"/>
                  </a:lnTo>
                  <a:lnTo>
                    <a:pt x="504" y="1052"/>
                  </a:lnTo>
                  <a:lnTo>
                    <a:pt x="516" y="1064"/>
                  </a:lnTo>
                  <a:lnTo>
                    <a:pt x="530" y="1071"/>
                  </a:lnTo>
                  <a:lnTo>
                    <a:pt x="548" y="1074"/>
                  </a:lnTo>
                  <a:lnTo>
                    <a:pt x="716" y="1074"/>
                  </a:lnTo>
                  <a:lnTo>
                    <a:pt x="716" y="1208"/>
                  </a:lnTo>
                  <a:lnTo>
                    <a:pt x="718" y="1232"/>
                  </a:lnTo>
                  <a:lnTo>
                    <a:pt x="724" y="1253"/>
                  </a:lnTo>
                  <a:lnTo>
                    <a:pt x="732" y="1271"/>
                  </a:lnTo>
                  <a:lnTo>
                    <a:pt x="745" y="1287"/>
                  </a:lnTo>
                  <a:lnTo>
                    <a:pt x="760" y="1300"/>
                  </a:lnTo>
                  <a:lnTo>
                    <a:pt x="779" y="1310"/>
                  </a:lnTo>
                  <a:lnTo>
                    <a:pt x="800" y="1315"/>
                  </a:lnTo>
                  <a:lnTo>
                    <a:pt x="824" y="1317"/>
                  </a:lnTo>
                  <a:lnTo>
                    <a:pt x="848" y="1315"/>
                  </a:lnTo>
                  <a:lnTo>
                    <a:pt x="870" y="1310"/>
                  </a:lnTo>
                  <a:lnTo>
                    <a:pt x="888" y="1300"/>
                  </a:lnTo>
                  <a:lnTo>
                    <a:pt x="904" y="1287"/>
                  </a:lnTo>
                  <a:lnTo>
                    <a:pt x="916" y="1271"/>
                  </a:lnTo>
                  <a:lnTo>
                    <a:pt x="924" y="1253"/>
                  </a:lnTo>
                  <a:lnTo>
                    <a:pt x="929" y="1232"/>
                  </a:lnTo>
                  <a:lnTo>
                    <a:pt x="932" y="1208"/>
                  </a:lnTo>
                  <a:lnTo>
                    <a:pt x="932" y="1074"/>
                  </a:lnTo>
                  <a:lnTo>
                    <a:pt x="1101" y="1074"/>
                  </a:lnTo>
                  <a:lnTo>
                    <a:pt x="1118" y="1071"/>
                  </a:lnTo>
                  <a:lnTo>
                    <a:pt x="1133" y="1064"/>
                  </a:lnTo>
                  <a:lnTo>
                    <a:pt x="1144" y="1052"/>
                  </a:lnTo>
                  <a:lnTo>
                    <a:pt x="1151" y="1038"/>
                  </a:lnTo>
                  <a:lnTo>
                    <a:pt x="1154" y="1021"/>
                  </a:lnTo>
                  <a:lnTo>
                    <a:pt x="1151" y="1004"/>
                  </a:lnTo>
                  <a:lnTo>
                    <a:pt x="1144" y="989"/>
                  </a:lnTo>
                  <a:lnTo>
                    <a:pt x="1133" y="977"/>
                  </a:lnTo>
                  <a:lnTo>
                    <a:pt x="1118" y="970"/>
                  </a:lnTo>
                  <a:lnTo>
                    <a:pt x="1101" y="968"/>
                  </a:lnTo>
                  <a:lnTo>
                    <a:pt x="932" y="968"/>
                  </a:lnTo>
                  <a:lnTo>
                    <a:pt x="932" y="928"/>
                  </a:lnTo>
                  <a:lnTo>
                    <a:pt x="955" y="888"/>
                  </a:lnTo>
                  <a:lnTo>
                    <a:pt x="1101" y="888"/>
                  </a:lnTo>
                  <a:lnTo>
                    <a:pt x="1118" y="886"/>
                  </a:lnTo>
                  <a:lnTo>
                    <a:pt x="1132" y="878"/>
                  </a:lnTo>
                  <a:lnTo>
                    <a:pt x="1144" y="866"/>
                  </a:lnTo>
                  <a:lnTo>
                    <a:pt x="1151" y="853"/>
                  </a:lnTo>
                  <a:lnTo>
                    <a:pt x="1153" y="836"/>
                  </a:lnTo>
                  <a:lnTo>
                    <a:pt x="1151" y="818"/>
                  </a:lnTo>
                  <a:lnTo>
                    <a:pt x="1144" y="804"/>
                  </a:lnTo>
                  <a:lnTo>
                    <a:pt x="1132" y="792"/>
                  </a:lnTo>
                  <a:lnTo>
                    <a:pt x="1118" y="784"/>
                  </a:lnTo>
                  <a:lnTo>
                    <a:pt x="1101" y="782"/>
                  </a:lnTo>
                  <a:lnTo>
                    <a:pt x="1018" y="782"/>
                  </a:lnTo>
                  <a:lnTo>
                    <a:pt x="1198" y="486"/>
                  </a:lnTo>
                  <a:lnTo>
                    <a:pt x="1207" y="469"/>
                  </a:lnTo>
                  <a:lnTo>
                    <a:pt x="1214" y="450"/>
                  </a:lnTo>
                  <a:lnTo>
                    <a:pt x="1217" y="431"/>
                  </a:lnTo>
                  <a:lnTo>
                    <a:pt x="1215" y="409"/>
                  </a:lnTo>
                  <a:lnTo>
                    <a:pt x="1209" y="391"/>
                  </a:lnTo>
                  <a:lnTo>
                    <a:pt x="1200" y="376"/>
                  </a:lnTo>
                  <a:lnTo>
                    <a:pt x="1189" y="364"/>
                  </a:lnTo>
                  <a:lnTo>
                    <a:pt x="1176" y="353"/>
                  </a:lnTo>
                  <a:lnTo>
                    <a:pt x="1162" y="344"/>
                  </a:lnTo>
                  <a:lnTo>
                    <a:pt x="1146" y="338"/>
                  </a:lnTo>
                  <a:lnTo>
                    <a:pt x="1130" y="334"/>
                  </a:lnTo>
                  <a:lnTo>
                    <a:pt x="1114" y="332"/>
                  </a:lnTo>
                  <a:lnTo>
                    <a:pt x="1099" y="332"/>
                  </a:lnTo>
                  <a:lnTo>
                    <a:pt x="1080" y="333"/>
                  </a:lnTo>
                  <a:lnTo>
                    <a:pt x="1063" y="338"/>
                  </a:lnTo>
                  <a:lnTo>
                    <a:pt x="1048" y="346"/>
                  </a:lnTo>
                  <a:lnTo>
                    <a:pt x="1035" y="356"/>
                  </a:lnTo>
                  <a:lnTo>
                    <a:pt x="1025" y="367"/>
                  </a:lnTo>
                  <a:lnTo>
                    <a:pt x="1017" y="376"/>
                  </a:lnTo>
                  <a:lnTo>
                    <a:pt x="1011" y="387"/>
                  </a:lnTo>
                  <a:lnTo>
                    <a:pt x="1007" y="394"/>
                  </a:lnTo>
                  <a:lnTo>
                    <a:pt x="824" y="743"/>
                  </a:lnTo>
                  <a:lnTo>
                    <a:pt x="642" y="394"/>
                  </a:lnTo>
                  <a:lnTo>
                    <a:pt x="637" y="387"/>
                  </a:lnTo>
                  <a:lnTo>
                    <a:pt x="631" y="376"/>
                  </a:lnTo>
                  <a:lnTo>
                    <a:pt x="624" y="367"/>
                  </a:lnTo>
                  <a:lnTo>
                    <a:pt x="613" y="356"/>
                  </a:lnTo>
                  <a:lnTo>
                    <a:pt x="601" y="346"/>
                  </a:lnTo>
                  <a:lnTo>
                    <a:pt x="586" y="338"/>
                  </a:lnTo>
                  <a:lnTo>
                    <a:pt x="569" y="333"/>
                  </a:lnTo>
                  <a:lnTo>
                    <a:pt x="549" y="332"/>
                  </a:lnTo>
                  <a:close/>
                  <a:moveTo>
                    <a:pt x="824" y="0"/>
                  </a:moveTo>
                  <a:lnTo>
                    <a:pt x="897" y="3"/>
                  </a:lnTo>
                  <a:lnTo>
                    <a:pt x="968" y="13"/>
                  </a:lnTo>
                  <a:lnTo>
                    <a:pt x="1037" y="28"/>
                  </a:lnTo>
                  <a:lnTo>
                    <a:pt x="1104" y="49"/>
                  </a:lnTo>
                  <a:lnTo>
                    <a:pt x="1169" y="76"/>
                  </a:lnTo>
                  <a:lnTo>
                    <a:pt x="1230" y="108"/>
                  </a:lnTo>
                  <a:lnTo>
                    <a:pt x="1289" y="144"/>
                  </a:lnTo>
                  <a:lnTo>
                    <a:pt x="1344" y="185"/>
                  </a:lnTo>
                  <a:lnTo>
                    <a:pt x="1395" y="230"/>
                  </a:lnTo>
                  <a:lnTo>
                    <a:pt x="1442" y="280"/>
                  </a:lnTo>
                  <a:lnTo>
                    <a:pt x="1486" y="334"/>
                  </a:lnTo>
                  <a:lnTo>
                    <a:pt x="1524" y="390"/>
                  </a:lnTo>
                  <a:lnTo>
                    <a:pt x="1558" y="450"/>
                  </a:lnTo>
                  <a:lnTo>
                    <a:pt x="1587" y="514"/>
                  </a:lnTo>
                  <a:lnTo>
                    <a:pt x="1612" y="579"/>
                  </a:lnTo>
                  <a:lnTo>
                    <a:pt x="1630" y="647"/>
                  </a:lnTo>
                  <a:lnTo>
                    <a:pt x="1588" y="710"/>
                  </a:lnTo>
                  <a:lnTo>
                    <a:pt x="1553" y="776"/>
                  </a:lnTo>
                  <a:lnTo>
                    <a:pt x="1521" y="844"/>
                  </a:lnTo>
                  <a:lnTo>
                    <a:pt x="1494" y="915"/>
                  </a:lnTo>
                  <a:lnTo>
                    <a:pt x="1473" y="988"/>
                  </a:lnTo>
                  <a:lnTo>
                    <a:pt x="1458" y="1064"/>
                  </a:lnTo>
                  <a:lnTo>
                    <a:pt x="1447" y="1141"/>
                  </a:lnTo>
                  <a:lnTo>
                    <a:pt x="1360" y="1158"/>
                  </a:lnTo>
                  <a:lnTo>
                    <a:pt x="1275" y="1183"/>
                  </a:lnTo>
                  <a:lnTo>
                    <a:pt x="1192" y="1212"/>
                  </a:lnTo>
                  <a:lnTo>
                    <a:pt x="1112" y="1247"/>
                  </a:lnTo>
                  <a:lnTo>
                    <a:pt x="1035" y="1287"/>
                  </a:lnTo>
                  <a:lnTo>
                    <a:pt x="961" y="1333"/>
                  </a:lnTo>
                  <a:lnTo>
                    <a:pt x="892" y="1384"/>
                  </a:lnTo>
                  <a:lnTo>
                    <a:pt x="826" y="1439"/>
                  </a:lnTo>
                  <a:lnTo>
                    <a:pt x="763" y="1498"/>
                  </a:lnTo>
                  <a:lnTo>
                    <a:pt x="706" y="1562"/>
                  </a:lnTo>
                  <a:lnTo>
                    <a:pt x="652" y="1630"/>
                  </a:lnTo>
                  <a:lnTo>
                    <a:pt x="584" y="1612"/>
                  </a:lnTo>
                  <a:lnTo>
                    <a:pt x="517" y="1589"/>
                  </a:lnTo>
                  <a:lnTo>
                    <a:pt x="454" y="1560"/>
                  </a:lnTo>
                  <a:lnTo>
                    <a:pt x="393" y="1527"/>
                  </a:lnTo>
                  <a:lnTo>
                    <a:pt x="336" y="1488"/>
                  </a:lnTo>
                  <a:lnTo>
                    <a:pt x="282" y="1445"/>
                  </a:lnTo>
                  <a:lnTo>
                    <a:pt x="232" y="1397"/>
                  </a:lnTo>
                  <a:lnTo>
                    <a:pt x="187" y="1346"/>
                  </a:lnTo>
                  <a:lnTo>
                    <a:pt x="145" y="1290"/>
                  </a:lnTo>
                  <a:lnTo>
                    <a:pt x="108" y="1232"/>
                  </a:lnTo>
                  <a:lnTo>
                    <a:pt x="76" y="1171"/>
                  </a:lnTo>
                  <a:lnTo>
                    <a:pt x="49" y="1106"/>
                  </a:lnTo>
                  <a:lnTo>
                    <a:pt x="28" y="1039"/>
                  </a:lnTo>
                  <a:lnTo>
                    <a:pt x="13" y="970"/>
                  </a:lnTo>
                  <a:lnTo>
                    <a:pt x="3" y="897"/>
                  </a:lnTo>
                  <a:lnTo>
                    <a:pt x="0" y="825"/>
                  </a:lnTo>
                  <a:lnTo>
                    <a:pt x="3" y="749"/>
                  </a:lnTo>
                  <a:lnTo>
                    <a:pt x="13" y="677"/>
                  </a:lnTo>
                  <a:lnTo>
                    <a:pt x="29" y="605"/>
                  </a:lnTo>
                  <a:lnTo>
                    <a:pt x="51" y="537"/>
                  </a:lnTo>
                  <a:lnTo>
                    <a:pt x="79" y="471"/>
                  </a:lnTo>
                  <a:lnTo>
                    <a:pt x="112" y="408"/>
                  </a:lnTo>
                  <a:lnTo>
                    <a:pt x="150" y="350"/>
                  </a:lnTo>
                  <a:lnTo>
                    <a:pt x="194" y="293"/>
                  </a:lnTo>
                  <a:lnTo>
                    <a:pt x="241" y="242"/>
                  </a:lnTo>
                  <a:lnTo>
                    <a:pt x="293" y="194"/>
                  </a:lnTo>
                  <a:lnTo>
                    <a:pt x="349" y="152"/>
                  </a:lnTo>
                  <a:lnTo>
                    <a:pt x="408" y="113"/>
                  </a:lnTo>
                  <a:lnTo>
                    <a:pt x="471" y="79"/>
                  </a:lnTo>
                  <a:lnTo>
                    <a:pt x="537" y="51"/>
                  </a:lnTo>
                  <a:lnTo>
                    <a:pt x="605" y="30"/>
                  </a:lnTo>
                  <a:lnTo>
                    <a:pt x="676" y="13"/>
                  </a:lnTo>
                  <a:lnTo>
                    <a:pt x="749" y="3"/>
                  </a:lnTo>
                  <a:lnTo>
                    <a:pt x="82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algn="ctr"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55"/>
            <p:cNvSpPr>
              <a:spLocks/>
            </p:cNvSpPr>
            <p:nvPr/>
          </p:nvSpPr>
          <p:spPr bwMode="auto">
            <a:xfrm>
              <a:off x="1928" y="2295"/>
              <a:ext cx="274" cy="261"/>
            </a:xfrm>
            <a:custGeom>
              <a:avLst/>
              <a:gdLst>
                <a:gd name="T0" fmla="*/ 964 w 1641"/>
                <a:gd name="T1" fmla="*/ 12 h 1567"/>
                <a:gd name="T2" fmla="*/ 1170 w 1641"/>
                <a:gd name="T3" fmla="*/ 78 h 1567"/>
                <a:gd name="T4" fmla="*/ 1348 w 1641"/>
                <a:gd name="T5" fmla="*/ 193 h 1567"/>
                <a:gd name="T6" fmla="*/ 1489 w 1641"/>
                <a:gd name="T7" fmla="*/ 348 h 1567"/>
                <a:gd name="T8" fmla="*/ 1589 w 1641"/>
                <a:gd name="T9" fmla="*/ 535 h 1567"/>
                <a:gd name="T10" fmla="*/ 1637 w 1641"/>
                <a:gd name="T11" fmla="*/ 749 h 1567"/>
                <a:gd name="T12" fmla="*/ 1627 w 1641"/>
                <a:gd name="T13" fmla="*/ 971 h 1567"/>
                <a:gd name="T14" fmla="*/ 1561 w 1641"/>
                <a:gd name="T15" fmla="*/ 1176 h 1567"/>
                <a:gd name="T16" fmla="*/ 1447 w 1641"/>
                <a:gd name="T17" fmla="*/ 1354 h 1567"/>
                <a:gd name="T18" fmla="*/ 1291 w 1641"/>
                <a:gd name="T19" fmla="*/ 1495 h 1567"/>
                <a:gd name="T20" fmla="*/ 1145 w 1641"/>
                <a:gd name="T21" fmla="*/ 1502 h 1567"/>
                <a:gd name="T22" fmla="*/ 1053 w 1641"/>
                <a:gd name="T23" fmla="*/ 1315 h 1567"/>
                <a:gd name="T24" fmla="*/ 1122 w 1641"/>
                <a:gd name="T25" fmla="*/ 1302 h 1567"/>
                <a:gd name="T26" fmla="*/ 1173 w 1641"/>
                <a:gd name="T27" fmla="*/ 1264 h 1567"/>
                <a:gd name="T28" fmla="*/ 1193 w 1641"/>
                <a:gd name="T29" fmla="*/ 1200 h 1567"/>
                <a:gd name="T30" fmla="*/ 1178 w 1641"/>
                <a:gd name="T31" fmla="*/ 1146 h 1567"/>
                <a:gd name="T32" fmla="*/ 1134 w 1641"/>
                <a:gd name="T33" fmla="*/ 1116 h 1567"/>
                <a:gd name="T34" fmla="*/ 1083 w 1641"/>
                <a:gd name="T35" fmla="*/ 1117 h 1567"/>
                <a:gd name="T36" fmla="*/ 1028 w 1641"/>
                <a:gd name="T37" fmla="*/ 1128 h 1567"/>
                <a:gd name="T38" fmla="*/ 956 w 1641"/>
                <a:gd name="T39" fmla="*/ 1124 h 1567"/>
                <a:gd name="T40" fmla="*/ 863 w 1641"/>
                <a:gd name="T41" fmla="*/ 1070 h 1567"/>
                <a:gd name="T42" fmla="*/ 787 w 1641"/>
                <a:gd name="T43" fmla="*/ 960 h 1567"/>
                <a:gd name="T44" fmla="*/ 784 w 1641"/>
                <a:gd name="T45" fmla="*/ 895 h 1567"/>
                <a:gd name="T46" fmla="*/ 933 w 1641"/>
                <a:gd name="T47" fmla="*/ 889 h 1567"/>
                <a:gd name="T48" fmla="*/ 969 w 1641"/>
                <a:gd name="T49" fmla="*/ 862 h 1567"/>
                <a:gd name="T50" fmla="*/ 974 w 1641"/>
                <a:gd name="T51" fmla="*/ 811 h 1567"/>
                <a:gd name="T52" fmla="*/ 949 w 1641"/>
                <a:gd name="T53" fmla="*/ 775 h 1567"/>
                <a:gd name="T54" fmla="*/ 892 w 1641"/>
                <a:gd name="T55" fmla="*/ 763 h 1567"/>
                <a:gd name="T56" fmla="*/ 718 w 1641"/>
                <a:gd name="T57" fmla="*/ 712 h 1567"/>
                <a:gd name="T58" fmla="*/ 698 w 1641"/>
                <a:gd name="T59" fmla="*/ 630 h 1567"/>
                <a:gd name="T60" fmla="*/ 717 w 1641"/>
                <a:gd name="T61" fmla="*/ 561 h 1567"/>
                <a:gd name="T62" fmla="*/ 766 w 1641"/>
                <a:gd name="T63" fmla="*/ 516 h 1567"/>
                <a:gd name="T64" fmla="*/ 831 w 1641"/>
                <a:gd name="T65" fmla="*/ 495 h 1567"/>
                <a:gd name="T66" fmla="*/ 907 w 1641"/>
                <a:gd name="T67" fmla="*/ 499 h 1567"/>
                <a:gd name="T68" fmla="*/ 959 w 1641"/>
                <a:gd name="T69" fmla="*/ 525 h 1567"/>
                <a:gd name="T70" fmla="*/ 987 w 1641"/>
                <a:gd name="T71" fmla="*/ 563 h 1567"/>
                <a:gd name="T72" fmla="*/ 1006 w 1641"/>
                <a:gd name="T73" fmla="*/ 604 h 1567"/>
                <a:gd name="T74" fmla="*/ 1029 w 1641"/>
                <a:gd name="T75" fmla="*/ 639 h 1567"/>
                <a:gd name="T76" fmla="*/ 1067 w 1641"/>
                <a:gd name="T77" fmla="*/ 658 h 1567"/>
                <a:gd name="T78" fmla="*/ 1127 w 1641"/>
                <a:gd name="T79" fmla="*/ 654 h 1567"/>
                <a:gd name="T80" fmla="*/ 1171 w 1641"/>
                <a:gd name="T81" fmla="*/ 622 h 1567"/>
                <a:gd name="T82" fmla="*/ 1188 w 1641"/>
                <a:gd name="T83" fmla="*/ 564 h 1567"/>
                <a:gd name="T84" fmla="*/ 1172 w 1641"/>
                <a:gd name="T85" fmla="*/ 495 h 1567"/>
                <a:gd name="T86" fmla="*/ 1124 w 1641"/>
                <a:gd name="T87" fmla="*/ 428 h 1567"/>
                <a:gd name="T88" fmla="*/ 1043 w 1641"/>
                <a:gd name="T89" fmla="*/ 372 h 1567"/>
                <a:gd name="T90" fmla="*/ 928 w 1641"/>
                <a:gd name="T91" fmla="*/ 337 h 1567"/>
                <a:gd name="T92" fmla="*/ 786 w 1641"/>
                <a:gd name="T93" fmla="*/ 333 h 1567"/>
                <a:gd name="T94" fmla="*/ 659 w 1641"/>
                <a:gd name="T95" fmla="*/ 367 h 1567"/>
                <a:gd name="T96" fmla="*/ 561 w 1641"/>
                <a:gd name="T97" fmla="*/ 437 h 1567"/>
                <a:gd name="T98" fmla="*/ 503 w 1641"/>
                <a:gd name="T99" fmla="*/ 538 h 1567"/>
                <a:gd name="T100" fmla="*/ 493 w 1641"/>
                <a:gd name="T101" fmla="*/ 649 h 1567"/>
                <a:gd name="T102" fmla="*/ 517 w 1641"/>
                <a:gd name="T103" fmla="*/ 738 h 1567"/>
                <a:gd name="T104" fmla="*/ 487 w 1641"/>
                <a:gd name="T105" fmla="*/ 765 h 1567"/>
                <a:gd name="T106" fmla="*/ 452 w 1641"/>
                <a:gd name="T107" fmla="*/ 786 h 1567"/>
                <a:gd name="T108" fmla="*/ 304 w 1641"/>
                <a:gd name="T109" fmla="*/ 751 h 1567"/>
                <a:gd name="T110" fmla="*/ 78 w 1641"/>
                <a:gd name="T111" fmla="*/ 713 h 1567"/>
                <a:gd name="T112" fmla="*/ 31 w 1641"/>
                <a:gd name="T113" fmla="*/ 573 h 1567"/>
                <a:gd name="T114" fmla="*/ 119 w 1641"/>
                <a:gd name="T115" fmla="*/ 385 h 1567"/>
                <a:gd name="T116" fmla="*/ 248 w 1641"/>
                <a:gd name="T117" fmla="*/ 228 h 1567"/>
                <a:gd name="T118" fmla="*/ 412 w 1641"/>
                <a:gd name="T119" fmla="*/ 105 h 1567"/>
                <a:gd name="T120" fmla="*/ 604 w 1641"/>
                <a:gd name="T121" fmla="*/ 27 h 1567"/>
                <a:gd name="T122" fmla="*/ 817 w 1641"/>
                <a:gd name="T123" fmla="*/ 0 h 1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" h="1567">
                  <a:moveTo>
                    <a:pt x="817" y="0"/>
                  </a:moveTo>
                  <a:lnTo>
                    <a:pt x="891" y="3"/>
                  </a:lnTo>
                  <a:lnTo>
                    <a:pt x="964" y="12"/>
                  </a:lnTo>
                  <a:lnTo>
                    <a:pt x="1035" y="28"/>
                  </a:lnTo>
                  <a:lnTo>
                    <a:pt x="1103" y="51"/>
                  </a:lnTo>
                  <a:lnTo>
                    <a:pt x="1170" y="78"/>
                  </a:lnTo>
                  <a:lnTo>
                    <a:pt x="1232" y="111"/>
                  </a:lnTo>
                  <a:lnTo>
                    <a:pt x="1291" y="150"/>
                  </a:lnTo>
                  <a:lnTo>
                    <a:pt x="1348" y="193"/>
                  </a:lnTo>
                  <a:lnTo>
                    <a:pt x="1399" y="240"/>
                  </a:lnTo>
                  <a:lnTo>
                    <a:pt x="1447" y="293"/>
                  </a:lnTo>
                  <a:lnTo>
                    <a:pt x="1489" y="348"/>
                  </a:lnTo>
                  <a:lnTo>
                    <a:pt x="1528" y="408"/>
                  </a:lnTo>
                  <a:lnTo>
                    <a:pt x="1561" y="470"/>
                  </a:lnTo>
                  <a:lnTo>
                    <a:pt x="1589" y="535"/>
                  </a:lnTo>
                  <a:lnTo>
                    <a:pt x="1611" y="605"/>
                  </a:lnTo>
                  <a:lnTo>
                    <a:pt x="1628" y="675"/>
                  </a:lnTo>
                  <a:lnTo>
                    <a:pt x="1637" y="749"/>
                  </a:lnTo>
                  <a:lnTo>
                    <a:pt x="1641" y="823"/>
                  </a:lnTo>
                  <a:lnTo>
                    <a:pt x="1637" y="898"/>
                  </a:lnTo>
                  <a:lnTo>
                    <a:pt x="1627" y="971"/>
                  </a:lnTo>
                  <a:lnTo>
                    <a:pt x="1611" y="1042"/>
                  </a:lnTo>
                  <a:lnTo>
                    <a:pt x="1588" y="1111"/>
                  </a:lnTo>
                  <a:lnTo>
                    <a:pt x="1561" y="1176"/>
                  </a:lnTo>
                  <a:lnTo>
                    <a:pt x="1528" y="1239"/>
                  </a:lnTo>
                  <a:lnTo>
                    <a:pt x="1489" y="1298"/>
                  </a:lnTo>
                  <a:lnTo>
                    <a:pt x="1447" y="1354"/>
                  </a:lnTo>
                  <a:lnTo>
                    <a:pt x="1399" y="1406"/>
                  </a:lnTo>
                  <a:lnTo>
                    <a:pt x="1346" y="1453"/>
                  </a:lnTo>
                  <a:lnTo>
                    <a:pt x="1291" y="1495"/>
                  </a:lnTo>
                  <a:lnTo>
                    <a:pt x="1231" y="1534"/>
                  </a:lnTo>
                  <a:lnTo>
                    <a:pt x="1168" y="1567"/>
                  </a:lnTo>
                  <a:lnTo>
                    <a:pt x="1145" y="1502"/>
                  </a:lnTo>
                  <a:lnTo>
                    <a:pt x="1118" y="1438"/>
                  </a:lnTo>
                  <a:lnTo>
                    <a:pt x="1087" y="1376"/>
                  </a:lnTo>
                  <a:lnTo>
                    <a:pt x="1053" y="1315"/>
                  </a:lnTo>
                  <a:lnTo>
                    <a:pt x="1077" y="1313"/>
                  </a:lnTo>
                  <a:lnTo>
                    <a:pt x="1099" y="1308"/>
                  </a:lnTo>
                  <a:lnTo>
                    <a:pt x="1122" y="1302"/>
                  </a:lnTo>
                  <a:lnTo>
                    <a:pt x="1141" y="1291"/>
                  </a:lnTo>
                  <a:lnTo>
                    <a:pt x="1158" y="1279"/>
                  </a:lnTo>
                  <a:lnTo>
                    <a:pt x="1173" y="1264"/>
                  </a:lnTo>
                  <a:lnTo>
                    <a:pt x="1183" y="1246"/>
                  </a:lnTo>
                  <a:lnTo>
                    <a:pt x="1191" y="1225"/>
                  </a:lnTo>
                  <a:lnTo>
                    <a:pt x="1193" y="1200"/>
                  </a:lnTo>
                  <a:lnTo>
                    <a:pt x="1192" y="1180"/>
                  </a:lnTo>
                  <a:lnTo>
                    <a:pt x="1187" y="1162"/>
                  </a:lnTo>
                  <a:lnTo>
                    <a:pt x="1178" y="1146"/>
                  </a:lnTo>
                  <a:lnTo>
                    <a:pt x="1166" y="1132"/>
                  </a:lnTo>
                  <a:lnTo>
                    <a:pt x="1151" y="1123"/>
                  </a:lnTo>
                  <a:lnTo>
                    <a:pt x="1134" y="1116"/>
                  </a:lnTo>
                  <a:lnTo>
                    <a:pt x="1114" y="1114"/>
                  </a:lnTo>
                  <a:lnTo>
                    <a:pt x="1100" y="1115"/>
                  </a:lnTo>
                  <a:lnTo>
                    <a:pt x="1083" y="1117"/>
                  </a:lnTo>
                  <a:lnTo>
                    <a:pt x="1064" y="1121"/>
                  </a:lnTo>
                  <a:lnTo>
                    <a:pt x="1045" y="1125"/>
                  </a:lnTo>
                  <a:lnTo>
                    <a:pt x="1028" y="1128"/>
                  </a:lnTo>
                  <a:lnTo>
                    <a:pt x="1013" y="1129"/>
                  </a:lnTo>
                  <a:lnTo>
                    <a:pt x="984" y="1128"/>
                  </a:lnTo>
                  <a:lnTo>
                    <a:pt x="956" y="1124"/>
                  </a:lnTo>
                  <a:lnTo>
                    <a:pt x="930" y="1118"/>
                  </a:lnTo>
                  <a:lnTo>
                    <a:pt x="902" y="1112"/>
                  </a:lnTo>
                  <a:lnTo>
                    <a:pt x="863" y="1070"/>
                  </a:lnTo>
                  <a:lnTo>
                    <a:pt x="821" y="1030"/>
                  </a:lnTo>
                  <a:lnTo>
                    <a:pt x="777" y="993"/>
                  </a:lnTo>
                  <a:lnTo>
                    <a:pt x="787" y="960"/>
                  </a:lnTo>
                  <a:lnTo>
                    <a:pt x="791" y="927"/>
                  </a:lnTo>
                  <a:lnTo>
                    <a:pt x="789" y="911"/>
                  </a:lnTo>
                  <a:lnTo>
                    <a:pt x="784" y="895"/>
                  </a:lnTo>
                  <a:lnTo>
                    <a:pt x="892" y="895"/>
                  </a:lnTo>
                  <a:lnTo>
                    <a:pt x="915" y="893"/>
                  </a:lnTo>
                  <a:lnTo>
                    <a:pt x="933" y="889"/>
                  </a:lnTo>
                  <a:lnTo>
                    <a:pt x="949" y="883"/>
                  </a:lnTo>
                  <a:lnTo>
                    <a:pt x="961" y="873"/>
                  </a:lnTo>
                  <a:lnTo>
                    <a:pt x="969" y="862"/>
                  </a:lnTo>
                  <a:lnTo>
                    <a:pt x="974" y="847"/>
                  </a:lnTo>
                  <a:lnTo>
                    <a:pt x="977" y="828"/>
                  </a:lnTo>
                  <a:lnTo>
                    <a:pt x="974" y="811"/>
                  </a:lnTo>
                  <a:lnTo>
                    <a:pt x="969" y="797"/>
                  </a:lnTo>
                  <a:lnTo>
                    <a:pt x="961" y="784"/>
                  </a:lnTo>
                  <a:lnTo>
                    <a:pt x="949" y="775"/>
                  </a:lnTo>
                  <a:lnTo>
                    <a:pt x="933" y="769"/>
                  </a:lnTo>
                  <a:lnTo>
                    <a:pt x="915" y="765"/>
                  </a:lnTo>
                  <a:lnTo>
                    <a:pt x="892" y="763"/>
                  </a:lnTo>
                  <a:lnTo>
                    <a:pt x="743" y="763"/>
                  </a:lnTo>
                  <a:lnTo>
                    <a:pt x="730" y="738"/>
                  </a:lnTo>
                  <a:lnTo>
                    <a:pt x="718" y="712"/>
                  </a:lnTo>
                  <a:lnTo>
                    <a:pt x="708" y="685"/>
                  </a:lnTo>
                  <a:lnTo>
                    <a:pt x="701" y="658"/>
                  </a:lnTo>
                  <a:lnTo>
                    <a:pt x="698" y="630"/>
                  </a:lnTo>
                  <a:lnTo>
                    <a:pt x="701" y="605"/>
                  </a:lnTo>
                  <a:lnTo>
                    <a:pt x="707" y="581"/>
                  </a:lnTo>
                  <a:lnTo>
                    <a:pt x="717" y="561"/>
                  </a:lnTo>
                  <a:lnTo>
                    <a:pt x="730" y="544"/>
                  </a:lnTo>
                  <a:lnTo>
                    <a:pt x="746" y="528"/>
                  </a:lnTo>
                  <a:lnTo>
                    <a:pt x="766" y="516"/>
                  </a:lnTo>
                  <a:lnTo>
                    <a:pt x="786" y="507"/>
                  </a:lnTo>
                  <a:lnTo>
                    <a:pt x="808" y="499"/>
                  </a:lnTo>
                  <a:lnTo>
                    <a:pt x="831" y="495"/>
                  </a:lnTo>
                  <a:lnTo>
                    <a:pt x="855" y="494"/>
                  </a:lnTo>
                  <a:lnTo>
                    <a:pt x="884" y="495"/>
                  </a:lnTo>
                  <a:lnTo>
                    <a:pt x="907" y="499"/>
                  </a:lnTo>
                  <a:lnTo>
                    <a:pt x="928" y="506"/>
                  </a:lnTo>
                  <a:lnTo>
                    <a:pt x="945" y="514"/>
                  </a:lnTo>
                  <a:lnTo>
                    <a:pt x="959" y="525"/>
                  </a:lnTo>
                  <a:lnTo>
                    <a:pt x="970" y="537"/>
                  </a:lnTo>
                  <a:lnTo>
                    <a:pt x="980" y="549"/>
                  </a:lnTo>
                  <a:lnTo>
                    <a:pt x="987" y="563"/>
                  </a:lnTo>
                  <a:lnTo>
                    <a:pt x="995" y="577"/>
                  </a:lnTo>
                  <a:lnTo>
                    <a:pt x="1001" y="591"/>
                  </a:lnTo>
                  <a:lnTo>
                    <a:pt x="1006" y="604"/>
                  </a:lnTo>
                  <a:lnTo>
                    <a:pt x="1013" y="616"/>
                  </a:lnTo>
                  <a:lnTo>
                    <a:pt x="1020" y="628"/>
                  </a:lnTo>
                  <a:lnTo>
                    <a:pt x="1029" y="639"/>
                  </a:lnTo>
                  <a:lnTo>
                    <a:pt x="1040" y="647"/>
                  </a:lnTo>
                  <a:lnTo>
                    <a:pt x="1052" y="654"/>
                  </a:lnTo>
                  <a:lnTo>
                    <a:pt x="1067" y="658"/>
                  </a:lnTo>
                  <a:lnTo>
                    <a:pt x="1085" y="660"/>
                  </a:lnTo>
                  <a:lnTo>
                    <a:pt x="1107" y="658"/>
                  </a:lnTo>
                  <a:lnTo>
                    <a:pt x="1127" y="654"/>
                  </a:lnTo>
                  <a:lnTo>
                    <a:pt x="1144" y="646"/>
                  </a:lnTo>
                  <a:lnTo>
                    <a:pt x="1159" y="636"/>
                  </a:lnTo>
                  <a:lnTo>
                    <a:pt x="1171" y="622"/>
                  </a:lnTo>
                  <a:lnTo>
                    <a:pt x="1180" y="605"/>
                  </a:lnTo>
                  <a:lnTo>
                    <a:pt x="1186" y="587"/>
                  </a:lnTo>
                  <a:lnTo>
                    <a:pt x="1188" y="564"/>
                  </a:lnTo>
                  <a:lnTo>
                    <a:pt x="1186" y="541"/>
                  </a:lnTo>
                  <a:lnTo>
                    <a:pt x="1180" y="518"/>
                  </a:lnTo>
                  <a:lnTo>
                    <a:pt x="1172" y="495"/>
                  </a:lnTo>
                  <a:lnTo>
                    <a:pt x="1159" y="472"/>
                  </a:lnTo>
                  <a:lnTo>
                    <a:pt x="1143" y="449"/>
                  </a:lnTo>
                  <a:lnTo>
                    <a:pt x="1124" y="428"/>
                  </a:lnTo>
                  <a:lnTo>
                    <a:pt x="1100" y="408"/>
                  </a:lnTo>
                  <a:lnTo>
                    <a:pt x="1073" y="388"/>
                  </a:lnTo>
                  <a:lnTo>
                    <a:pt x="1043" y="372"/>
                  </a:lnTo>
                  <a:lnTo>
                    <a:pt x="1008" y="358"/>
                  </a:lnTo>
                  <a:lnTo>
                    <a:pt x="970" y="346"/>
                  </a:lnTo>
                  <a:lnTo>
                    <a:pt x="928" y="337"/>
                  </a:lnTo>
                  <a:lnTo>
                    <a:pt x="883" y="332"/>
                  </a:lnTo>
                  <a:lnTo>
                    <a:pt x="833" y="330"/>
                  </a:lnTo>
                  <a:lnTo>
                    <a:pt x="786" y="333"/>
                  </a:lnTo>
                  <a:lnTo>
                    <a:pt x="741" y="339"/>
                  </a:lnTo>
                  <a:lnTo>
                    <a:pt x="698" y="351"/>
                  </a:lnTo>
                  <a:lnTo>
                    <a:pt x="659" y="367"/>
                  </a:lnTo>
                  <a:lnTo>
                    <a:pt x="623" y="387"/>
                  </a:lnTo>
                  <a:lnTo>
                    <a:pt x="590" y="411"/>
                  </a:lnTo>
                  <a:lnTo>
                    <a:pt x="561" y="437"/>
                  </a:lnTo>
                  <a:lnTo>
                    <a:pt x="538" y="468"/>
                  </a:lnTo>
                  <a:lnTo>
                    <a:pt x="517" y="501"/>
                  </a:lnTo>
                  <a:lnTo>
                    <a:pt x="503" y="538"/>
                  </a:lnTo>
                  <a:lnTo>
                    <a:pt x="494" y="576"/>
                  </a:lnTo>
                  <a:lnTo>
                    <a:pt x="491" y="618"/>
                  </a:lnTo>
                  <a:lnTo>
                    <a:pt x="493" y="649"/>
                  </a:lnTo>
                  <a:lnTo>
                    <a:pt x="497" y="680"/>
                  </a:lnTo>
                  <a:lnTo>
                    <a:pt x="506" y="709"/>
                  </a:lnTo>
                  <a:lnTo>
                    <a:pt x="517" y="738"/>
                  </a:lnTo>
                  <a:lnTo>
                    <a:pt x="532" y="763"/>
                  </a:lnTo>
                  <a:lnTo>
                    <a:pt x="503" y="763"/>
                  </a:lnTo>
                  <a:lnTo>
                    <a:pt x="487" y="765"/>
                  </a:lnTo>
                  <a:lnTo>
                    <a:pt x="474" y="770"/>
                  </a:lnTo>
                  <a:lnTo>
                    <a:pt x="462" y="776"/>
                  </a:lnTo>
                  <a:lnTo>
                    <a:pt x="452" y="786"/>
                  </a:lnTo>
                  <a:lnTo>
                    <a:pt x="446" y="798"/>
                  </a:lnTo>
                  <a:lnTo>
                    <a:pt x="376" y="772"/>
                  </a:lnTo>
                  <a:lnTo>
                    <a:pt x="304" y="751"/>
                  </a:lnTo>
                  <a:lnTo>
                    <a:pt x="231" y="734"/>
                  </a:lnTo>
                  <a:lnTo>
                    <a:pt x="155" y="722"/>
                  </a:lnTo>
                  <a:lnTo>
                    <a:pt x="78" y="713"/>
                  </a:lnTo>
                  <a:lnTo>
                    <a:pt x="0" y="710"/>
                  </a:lnTo>
                  <a:lnTo>
                    <a:pt x="13" y="641"/>
                  </a:lnTo>
                  <a:lnTo>
                    <a:pt x="31" y="573"/>
                  </a:lnTo>
                  <a:lnTo>
                    <a:pt x="56" y="508"/>
                  </a:lnTo>
                  <a:lnTo>
                    <a:pt x="85" y="445"/>
                  </a:lnTo>
                  <a:lnTo>
                    <a:pt x="119" y="385"/>
                  </a:lnTo>
                  <a:lnTo>
                    <a:pt x="157" y="330"/>
                  </a:lnTo>
                  <a:lnTo>
                    <a:pt x="201" y="277"/>
                  </a:lnTo>
                  <a:lnTo>
                    <a:pt x="248" y="228"/>
                  </a:lnTo>
                  <a:lnTo>
                    <a:pt x="299" y="183"/>
                  </a:lnTo>
                  <a:lnTo>
                    <a:pt x="354" y="141"/>
                  </a:lnTo>
                  <a:lnTo>
                    <a:pt x="412" y="105"/>
                  </a:lnTo>
                  <a:lnTo>
                    <a:pt x="474" y="74"/>
                  </a:lnTo>
                  <a:lnTo>
                    <a:pt x="538" y="48"/>
                  </a:lnTo>
                  <a:lnTo>
                    <a:pt x="604" y="27"/>
                  </a:lnTo>
                  <a:lnTo>
                    <a:pt x="673" y="11"/>
                  </a:lnTo>
                  <a:lnTo>
                    <a:pt x="743" y="3"/>
                  </a:lnTo>
                  <a:lnTo>
                    <a:pt x="8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algn="ctr"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56"/>
            <p:cNvSpPr>
              <a:spLocks/>
            </p:cNvSpPr>
            <p:nvPr/>
          </p:nvSpPr>
          <p:spPr bwMode="auto">
            <a:xfrm>
              <a:off x="1936" y="2636"/>
              <a:ext cx="35" cy="56"/>
            </a:xfrm>
            <a:custGeom>
              <a:avLst/>
              <a:gdLst>
                <a:gd name="T0" fmla="*/ 0 w 210"/>
                <a:gd name="T1" fmla="*/ 0 h 337"/>
                <a:gd name="T2" fmla="*/ 24 w 210"/>
                <a:gd name="T3" fmla="*/ 6 h 337"/>
                <a:gd name="T4" fmla="*/ 48 w 210"/>
                <a:gd name="T5" fmla="*/ 12 h 337"/>
                <a:gd name="T6" fmla="*/ 72 w 210"/>
                <a:gd name="T7" fmla="*/ 18 h 337"/>
                <a:gd name="T8" fmla="*/ 95 w 210"/>
                <a:gd name="T9" fmla="*/ 27 h 337"/>
                <a:gd name="T10" fmla="*/ 118 w 210"/>
                <a:gd name="T11" fmla="*/ 38 h 337"/>
                <a:gd name="T12" fmla="*/ 140 w 210"/>
                <a:gd name="T13" fmla="*/ 49 h 337"/>
                <a:gd name="T14" fmla="*/ 159 w 210"/>
                <a:gd name="T15" fmla="*/ 63 h 337"/>
                <a:gd name="T16" fmla="*/ 176 w 210"/>
                <a:gd name="T17" fmla="*/ 79 h 337"/>
                <a:gd name="T18" fmla="*/ 190 w 210"/>
                <a:gd name="T19" fmla="*/ 97 h 337"/>
                <a:gd name="T20" fmla="*/ 201 w 210"/>
                <a:gd name="T21" fmla="*/ 118 h 337"/>
                <a:gd name="T22" fmla="*/ 208 w 210"/>
                <a:gd name="T23" fmla="*/ 143 h 337"/>
                <a:gd name="T24" fmla="*/ 210 w 210"/>
                <a:gd name="T25" fmla="*/ 170 h 337"/>
                <a:gd name="T26" fmla="*/ 208 w 210"/>
                <a:gd name="T27" fmla="*/ 196 h 337"/>
                <a:gd name="T28" fmla="*/ 202 w 210"/>
                <a:gd name="T29" fmla="*/ 221 h 337"/>
                <a:gd name="T30" fmla="*/ 191 w 210"/>
                <a:gd name="T31" fmla="*/ 242 h 337"/>
                <a:gd name="T32" fmla="*/ 178 w 210"/>
                <a:gd name="T33" fmla="*/ 261 h 337"/>
                <a:gd name="T34" fmla="*/ 162 w 210"/>
                <a:gd name="T35" fmla="*/ 278 h 337"/>
                <a:gd name="T36" fmla="*/ 143 w 210"/>
                <a:gd name="T37" fmla="*/ 293 h 337"/>
                <a:gd name="T38" fmla="*/ 123 w 210"/>
                <a:gd name="T39" fmla="*/ 305 h 337"/>
                <a:gd name="T40" fmla="*/ 100 w 210"/>
                <a:gd name="T41" fmla="*/ 316 h 337"/>
                <a:gd name="T42" fmla="*/ 76 w 210"/>
                <a:gd name="T43" fmla="*/ 324 h 337"/>
                <a:gd name="T44" fmla="*/ 51 w 210"/>
                <a:gd name="T45" fmla="*/ 329 h 337"/>
                <a:gd name="T46" fmla="*/ 26 w 210"/>
                <a:gd name="T47" fmla="*/ 335 h 337"/>
                <a:gd name="T48" fmla="*/ 0 w 210"/>
                <a:gd name="T49" fmla="*/ 337 h 337"/>
                <a:gd name="T50" fmla="*/ 0 w 210"/>
                <a:gd name="T51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0" h="337">
                  <a:moveTo>
                    <a:pt x="0" y="0"/>
                  </a:moveTo>
                  <a:lnTo>
                    <a:pt x="24" y="6"/>
                  </a:lnTo>
                  <a:lnTo>
                    <a:pt x="48" y="12"/>
                  </a:lnTo>
                  <a:lnTo>
                    <a:pt x="72" y="18"/>
                  </a:lnTo>
                  <a:lnTo>
                    <a:pt x="95" y="27"/>
                  </a:lnTo>
                  <a:lnTo>
                    <a:pt x="118" y="38"/>
                  </a:lnTo>
                  <a:lnTo>
                    <a:pt x="140" y="49"/>
                  </a:lnTo>
                  <a:lnTo>
                    <a:pt x="159" y="63"/>
                  </a:lnTo>
                  <a:lnTo>
                    <a:pt x="176" y="79"/>
                  </a:lnTo>
                  <a:lnTo>
                    <a:pt x="190" y="97"/>
                  </a:lnTo>
                  <a:lnTo>
                    <a:pt x="201" y="118"/>
                  </a:lnTo>
                  <a:lnTo>
                    <a:pt x="208" y="143"/>
                  </a:lnTo>
                  <a:lnTo>
                    <a:pt x="210" y="170"/>
                  </a:lnTo>
                  <a:lnTo>
                    <a:pt x="208" y="196"/>
                  </a:lnTo>
                  <a:lnTo>
                    <a:pt x="202" y="221"/>
                  </a:lnTo>
                  <a:lnTo>
                    <a:pt x="191" y="242"/>
                  </a:lnTo>
                  <a:lnTo>
                    <a:pt x="178" y="261"/>
                  </a:lnTo>
                  <a:lnTo>
                    <a:pt x="162" y="278"/>
                  </a:lnTo>
                  <a:lnTo>
                    <a:pt x="143" y="293"/>
                  </a:lnTo>
                  <a:lnTo>
                    <a:pt x="123" y="305"/>
                  </a:lnTo>
                  <a:lnTo>
                    <a:pt x="100" y="316"/>
                  </a:lnTo>
                  <a:lnTo>
                    <a:pt x="76" y="324"/>
                  </a:lnTo>
                  <a:lnTo>
                    <a:pt x="51" y="329"/>
                  </a:lnTo>
                  <a:lnTo>
                    <a:pt x="26" y="335"/>
                  </a:lnTo>
                  <a:lnTo>
                    <a:pt x="0" y="33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algn="ctr"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57"/>
            <p:cNvSpPr>
              <a:spLocks/>
            </p:cNvSpPr>
            <p:nvPr/>
          </p:nvSpPr>
          <p:spPr bwMode="auto">
            <a:xfrm>
              <a:off x="1887" y="2544"/>
              <a:ext cx="32" cy="51"/>
            </a:xfrm>
            <a:custGeom>
              <a:avLst/>
              <a:gdLst>
                <a:gd name="T0" fmla="*/ 191 w 191"/>
                <a:gd name="T1" fmla="*/ 0 h 304"/>
                <a:gd name="T2" fmla="*/ 191 w 191"/>
                <a:gd name="T3" fmla="*/ 304 h 304"/>
                <a:gd name="T4" fmla="*/ 150 w 191"/>
                <a:gd name="T5" fmla="*/ 295 h 304"/>
                <a:gd name="T6" fmla="*/ 115 w 191"/>
                <a:gd name="T7" fmla="*/ 283 h 304"/>
                <a:gd name="T8" fmla="*/ 84 w 191"/>
                <a:gd name="T9" fmla="*/ 270 h 304"/>
                <a:gd name="T10" fmla="*/ 59 w 191"/>
                <a:gd name="T11" fmla="*/ 255 h 304"/>
                <a:gd name="T12" fmla="*/ 37 w 191"/>
                <a:gd name="T13" fmla="*/ 237 h 304"/>
                <a:gd name="T14" fmla="*/ 21 w 191"/>
                <a:gd name="T15" fmla="*/ 218 h 304"/>
                <a:gd name="T16" fmla="*/ 10 w 191"/>
                <a:gd name="T17" fmla="*/ 196 h 304"/>
                <a:gd name="T18" fmla="*/ 2 w 191"/>
                <a:gd name="T19" fmla="*/ 171 h 304"/>
                <a:gd name="T20" fmla="*/ 0 w 191"/>
                <a:gd name="T21" fmla="*/ 143 h 304"/>
                <a:gd name="T22" fmla="*/ 3 w 191"/>
                <a:gd name="T23" fmla="*/ 120 h 304"/>
                <a:gd name="T24" fmla="*/ 11 w 191"/>
                <a:gd name="T25" fmla="*/ 96 h 304"/>
                <a:gd name="T26" fmla="*/ 24 w 191"/>
                <a:gd name="T27" fmla="*/ 74 h 304"/>
                <a:gd name="T28" fmla="*/ 42 w 191"/>
                <a:gd name="T29" fmla="*/ 55 h 304"/>
                <a:gd name="T30" fmla="*/ 64 w 191"/>
                <a:gd name="T31" fmla="*/ 37 h 304"/>
                <a:gd name="T32" fmla="*/ 90 w 191"/>
                <a:gd name="T33" fmla="*/ 22 h 304"/>
                <a:gd name="T34" fmla="*/ 121 w 191"/>
                <a:gd name="T35" fmla="*/ 10 h 304"/>
                <a:gd name="T36" fmla="*/ 154 w 191"/>
                <a:gd name="T37" fmla="*/ 3 h 304"/>
                <a:gd name="T38" fmla="*/ 191 w 191"/>
                <a:gd name="T39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1" h="304">
                  <a:moveTo>
                    <a:pt x="191" y="0"/>
                  </a:moveTo>
                  <a:lnTo>
                    <a:pt x="191" y="304"/>
                  </a:lnTo>
                  <a:lnTo>
                    <a:pt x="150" y="295"/>
                  </a:lnTo>
                  <a:lnTo>
                    <a:pt x="115" y="283"/>
                  </a:lnTo>
                  <a:lnTo>
                    <a:pt x="84" y="270"/>
                  </a:lnTo>
                  <a:lnTo>
                    <a:pt x="59" y="255"/>
                  </a:lnTo>
                  <a:lnTo>
                    <a:pt x="37" y="237"/>
                  </a:lnTo>
                  <a:lnTo>
                    <a:pt x="21" y="218"/>
                  </a:lnTo>
                  <a:lnTo>
                    <a:pt x="10" y="196"/>
                  </a:lnTo>
                  <a:lnTo>
                    <a:pt x="2" y="171"/>
                  </a:lnTo>
                  <a:lnTo>
                    <a:pt x="0" y="143"/>
                  </a:lnTo>
                  <a:lnTo>
                    <a:pt x="3" y="120"/>
                  </a:lnTo>
                  <a:lnTo>
                    <a:pt x="11" y="96"/>
                  </a:lnTo>
                  <a:lnTo>
                    <a:pt x="24" y="74"/>
                  </a:lnTo>
                  <a:lnTo>
                    <a:pt x="42" y="55"/>
                  </a:lnTo>
                  <a:lnTo>
                    <a:pt x="64" y="37"/>
                  </a:lnTo>
                  <a:lnTo>
                    <a:pt x="90" y="22"/>
                  </a:lnTo>
                  <a:lnTo>
                    <a:pt x="121" y="10"/>
                  </a:lnTo>
                  <a:lnTo>
                    <a:pt x="154" y="3"/>
                  </a:lnTo>
                  <a:lnTo>
                    <a:pt x="1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algn="ctr"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58"/>
            <p:cNvSpPr>
              <a:spLocks noEditPoints="1"/>
            </p:cNvSpPr>
            <p:nvPr/>
          </p:nvSpPr>
          <p:spPr bwMode="auto">
            <a:xfrm>
              <a:off x="1755" y="2447"/>
              <a:ext cx="344" cy="344"/>
            </a:xfrm>
            <a:custGeom>
              <a:avLst/>
              <a:gdLst>
                <a:gd name="T0" fmla="*/ 990 w 2061"/>
                <a:gd name="T1" fmla="*/ 288 h 2062"/>
                <a:gd name="T2" fmla="*/ 900 w 2061"/>
                <a:gd name="T3" fmla="*/ 415 h 2062"/>
                <a:gd name="T4" fmla="*/ 715 w 2061"/>
                <a:gd name="T5" fmla="*/ 490 h 2062"/>
                <a:gd name="T6" fmla="*/ 599 w 2061"/>
                <a:gd name="T7" fmla="*/ 639 h 2062"/>
                <a:gd name="T8" fmla="*/ 589 w 2061"/>
                <a:gd name="T9" fmla="*/ 846 h 2062"/>
                <a:gd name="T10" fmla="*/ 703 w 2061"/>
                <a:gd name="T11" fmla="*/ 1004 h 2062"/>
                <a:gd name="T12" fmla="*/ 926 w 2061"/>
                <a:gd name="T13" fmla="*/ 1098 h 2062"/>
                <a:gd name="T14" fmla="*/ 889 w 2061"/>
                <a:gd name="T15" fmla="*/ 1450 h 2062"/>
                <a:gd name="T16" fmla="*/ 808 w 2061"/>
                <a:gd name="T17" fmla="*/ 1387 h 2062"/>
                <a:gd name="T18" fmla="*/ 774 w 2061"/>
                <a:gd name="T19" fmla="*/ 1306 h 2062"/>
                <a:gd name="T20" fmla="*/ 732 w 2061"/>
                <a:gd name="T21" fmla="*/ 1240 h 2062"/>
                <a:gd name="T22" fmla="*/ 631 w 2061"/>
                <a:gd name="T23" fmla="*/ 1221 h 2062"/>
                <a:gd name="T24" fmla="*/ 554 w 2061"/>
                <a:gd name="T25" fmla="*/ 1299 h 2062"/>
                <a:gd name="T26" fmla="*/ 582 w 2061"/>
                <a:gd name="T27" fmla="*/ 1438 h 2062"/>
                <a:gd name="T28" fmla="*/ 707 w 2061"/>
                <a:gd name="T29" fmla="*/ 1565 h 2062"/>
                <a:gd name="T30" fmla="*/ 927 w 2061"/>
                <a:gd name="T31" fmla="*/ 1636 h 2062"/>
                <a:gd name="T32" fmla="*/ 998 w 2061"/>
                <a:gd name="T33" fmla="*/ 1786 h 2062"/>
                <a:gd name="T34" fmla="*/ 1061 w 2061"/>
                <a:gd name="T35" fmla="*/ 1795 h 2062"/>
                <a:gd name="T36" fmla="*/ 1085 w 2061"/>
                <a:gd name="T37" fmla="*/ 1640 h 2062"/>
                <a:gd name="T38" fmla="*/ 1308 w 2061"/>
                <a:gd name="T39" fmla="*/ 1591 h 2062"/>
                <a:gd name="T40" fmla="*/ 1456 w 2061"/>
                <a:gd name="T41" fmla="*/ 1472 h 2062"/>
                <a:gd name="T42" fmla="*/ 1509 w 2061"/>
                <a:gd name="T43" fmla="*/ 1281 h 2062"/>
                <a:gd name="T44" fmla="*/ 1462 w 2061"/>
                <a:gd name="T45" fmla="*/ 1095 h 2062"/>
                <a:gd name="T46" fmla="*/ 1338 w 2061"/>
                <a:gd name="T47" fmla="*/ 984 h 2062"/>
                <a:gd name="T48" fmla="*/ 1163 w 2061"/>
                <a:gd name="T49" fmla="*/ 921 h 2062"/>
                <a:gd name="T50" fmla="*/ 1145 w 2061"/>
                <a:gd name="T51" fmla="*/ 588 h 2062"/>
                <a:gd name="T52" fmla="*/ 1243 w 2061"/>
                <a:gd name="T53" fmla="*/ 650 h 2062"/>
                <a:gd name="T54" fmla="*/ 1307 w 2061"/>
                <a:gd name="T55" fmla="*/ 728 h 2062"/>
                <a:gd name="T56" fmla="*/ 1384 w 2061"/>
                <a:gd name="T57" fmla="*/ 766 h 2062"/>
                <a:gd name="T58" fmla="*/ 1472 w 2061"/>
                <a:gd name="T59" fmla="*/ 723 h 2062"/>
                <a:gd name="T60" fmla="*/ 1478 w 2061"/>
                <a:gd name="T61" fmla="*/ 602 h 2062"/>
                <a:gd name="T62" fmla="*/ 1369 w 2061"/>
                <a:gd name="T63" fmla="*/ 489 h 2062"/>
                <a:gd name="T64" fmla="*/ 1205 w 2061"/>
                <a:gd name="T65" fmla="*/ 424 h 2062"/>
                <a:gd name="T66" fmla="*/ 1085 w 2061"/>
                <a:gd name="T67" fmla="*/ 315 h 2062"/>
                <a:gd name="T68" fmla="*/ 1048 w 2061"/>
                <a:gd name="T69" fmla="*/ 260 h 2062"/>
                <a:gd name="T70" fmla="*/ 1278 w 2061"/>
                <a:gd name="T71" fmla="*/ 30 h 2062"/>
                <a:gd name="T72" fmla="*/ 1639 w 2061"/>
                <a:gd name="T73" fmla="*/ 199 h 2062"/>
                <a:gd name="T74" fmla="*/ 1907 w 2061"/>
                <a:gd name="T75" fmla="*/ 488 h 2062"/>
                <a:gd name="T76" fmla="*/ 2048 w 2061"/>
                <a:gd name="T77" fmla="*/ 864 h 2062"/>
                <a:gd name="T78" fmla="*/ 2032 w 2061"/>
                <a:gd name="T79" fmla="*/ 1277 h 2062"/>
                <a:gd name="T80" fmla="*/ 1862 w 2061"/>
                <a:gd name="T81" fmla="*/ 1639 h 2062"/>
                <a:gd name="T82" fmla="*/ 1573 w 2061"/>
                <a:gd name="T83" fmla="*/ 1906 h 2062"/>
                <a:gd name="T84" fmla="*/ 1197 w 2061"/>
                <a:gd name="T85" fmla="*/ 2048 h 2062"/>
                <a:gd name="T86" fmla="*/ 784 w 2061"/>
                <a:gd name="T87" fmla="*/ 2031 h 2062"/>
                <a:gd name="T88" fmla="*/ 422 w 2061"/>
                <a:gd name="T89" fmla="*/ 1862 h 2062"/>
                <a:gd name="T90" fmla="*/ 155 w 2061"/>
                <a:gd name="T91" fmla="*/ 1572 h 2062"/>
                <a:gd name="T92" fmla="*/ 13 w 2061"/>
                <a:gd name="T93" fmla="*/ 1197 h 2062"/>
                <a:gd name="T94" fmla="*/ 30 w 2061"/>
                <a:gd name="T95" fmla="*/ 783 h 2062"/>
                <a:gd name="T96" fmla="*/ 199 w 2061"/>
                <a:gd name="T97" fmla="*/ 423 h 2062"/>
                <a:gd name="T98" fmla="*/ 488 w 2061"/>
                <a:gd name="T99" fmla="*/ 154 h 2062"/>
                <a:gd name="T100" fmla="*/ 863 w 2061"/>
                <a:gd name="T101" fmla="*/ 14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61" h="2062">
                  <a:moveTo>
                    <a:pt x="1034" y="258"/>
                  </a:moveTo>
                  <a:lnTo>
                    <a:pt x="1020" y="260"/>
                  </a:lnTo>
                  <a:lnTo>
                    <a:pt x="1008" y="266"/>
                  </a:lnTo>
                  <a:lnTo>
                    <a:pt x="998" y="276"/>
                  </a:lnTo>
                  <a:lnTo>
                    <a:pt x="990" y="288"/>
                  </a:lnTo>
                  <a:lnTo>
                    <a:pt x="985" y="301"/>
                  </a:lnTo>
                  <a:lnTo>
                    <a:pt x="983" y="315"/>
                  </a:lnTo>
                  <a:lnTo>
                    <a:pt x="983" y="407"/>
                  </a:lnTo>
                  <a:lnTo>
                    <a:pt x="941" y="409"/>
                  </a:lnTo>
                  <a:lnTo>
                    <a:pt x="900" y="415"/>
                  </a:lnTo>
                  <a:lnTo>
                    <a:pt x="859" y="424"/>
                  </a:lnTo>
                  <a:lnTo>
                    <a:pt x="820" y="436"/>
                  </a:lnTo>
                  <a:lnTo>
                    <a:pt x="784" y="451"/>
                  </a:lnTo>
                  <a:lnTo>
                    <a:pt x="748" y="469"/>
                  </a:lnTo>
                  <a:lnTo>
                    <a:pt x="715" y="490"/>
                  </a:lnTo>
                  <a:lnTo>
                    <a:pt x="685" y="513"/>
                  </a:lnTo>
                  <a:lnTo>
                    <a:pt x="659" y="540"/>
                  </a:lnTo>
                  <a:lnTo>
                    <a:pt x="635" y="570"/>
                  </a:lnTo>
                  <a:lnTo>
                    <a:pt x="615" y="603"/>
                  </a:lnTo>
                  <a:lnTo>
                    <a:pt x="599" y="639"/>
                  </a:lnTo>
                  <a:lnTo>
                    <a:pt x="587" y="677"/>
                  </a:lnTo>
                  <a:lnTo>
                    <a:pt x="580" y="719"/>
                  </a:lnTo>
                  <a:lnTo>
                    <a:pt x="578" y="765"/>
                  </a:lnTo>
                  <a:lnTo>
                    <a:pt x="580" y="806"/>
                  </a:lnTo>
                  <a:lnTo>
                    <a:pt x="589" y="846"/>
                  </a:lnTo>
                  <a:lnTo>
                    <a:pt x="601" y="883"/>
                  </a:lnTo>
                  <a:lnTo>
                    <a:pt x="619" y="917"/>
                  </a:lnTo>
                  <a:lnTo>
                    <a:pt x="643" y="948"/>
                  </a:lnTo>
                  <a:lnTo>
                    <a:pt x="671" y="977"/>
                  </a:lnTo>
                  <a:lnTo>
                    <a:pt x="703" y="1004"/>
                  </a:lnTo>
                  <a:lnTo>
                    <a:pt x="739" y="1028"/>
                  </a:lnTo>
                  <a:lnTo>
                    <a:pt x="779" y="1049"/>
                  </a:lnTo>
                  <a:lnTo>
                    <a:pt x="825" y="1067"/>
                  </a:lnTo>
                  <a:lnTo>
                    <a:pt x="874" y="1084"/>
                  </a:lnTo>
                  <a:lnTo>
                    <a:pt x="926" y="1098"/>
                  </a:lnTo>
                  <a:lnTo>
                    <a:pt x="983" y="1110"/>
                  </a:lnTo>
                  <a:lnTo>
                    <a:pt x="983" y="1466"/>
                  </a:lnTo>
                  <a:lnTo>
                    <a:pt x="947" y="1463"/>
                  </a:lnTo>
                  <a:lnTo>
                    <a:pt x="916" y="1457"/>
                  </a:lnTo>
                  <a:lnTo>
                    <a:pt x="889" y="1450"/>
                  </a:lnTo>
                  <a:lnTo>
                    <a:pt x="867" y="1440"/>
                  </a:lnTo>
                  <a:lnTo>
                    <a:pt x="847" y="1429"/>
                  </a:lnTo>
                  <a:lnTo>
                    <a:pt x="832" y="1416"/>
                  </a:lnTo>
                  <a:lnTo>
                    <a:pt x="819" y="1402"/>
                  </a:lnTo>
                  <a:lnTo>
                    <a:pt x="808" y="1387"/>
                  </a:lnTo>
                  <a:lnTo>
                    <a:pt x="800" y="1371"/>
                  </a:lnTo>
                  <a:lnTo>
                    <a:pt x="792" y="1354"/>
                  </a:lnTo>
                  <a:lnTo>
                    <a:pt x="786" y="1338"/>
                  </a:lnTo>
                  <a:lnTo>
                    <a:pt x="779" y="1322"/>
                  </a:lnTo>
                  <a:lnTo>
                    <a:pt x="774" y="1306"/>
                  </a:lnTo>
                  <a:lnTo>
                    <a:pt x="768" y="1290"/>
                  </a:lnTo>
                  <a:lnTo>
                    <a:pt x="761" y="1275"/>
                  </a:lnTo>
                  <a:lnTo>
                    <a:pt x="754" y="1262"/>
                  </a:lnTo>
                  <a:lnTo>
                    <a:pt x="744" y="1250"/>
                  </a:lnTo>
                  <a:lnTo>
                    <a:pt x="732" y="1240"/>
                  </a:lnTo>
                  <a:lnTo>
                    <a:pt x="719" y="1230"/>
                  </a:lnTo>
                  <a:lnTo>
                    <a:pt x="701" y="1224"/>
                  </a:lnTo>
                  <a:lnTo>
                    <a:pt x="681" y="1221"/>
                  </a:lnTo>
                  <a:lnTo>
                    <a:pt x="658" y="1219"/>
                  </a:lnTo>
                  <a:lnTo>
                    <a:pt x="631" y="1221"/>
                  </a:lnTo>
                  <a:lnTo>
                    <a:pt x="609" y="1228"/>
                  </a:lnTo>
                  <a:lnTo>
                    <a:pt x="589" y="1240"/>
                  </a:lnTo>
                  <a:lnTo>
                    <a:pt x="574" y="1256"/>
                  </a:lnTo>
                  <a:lnTo>
                    <a:pt x="562" y="1275"/>
                  </a:lnTo>
                  <a:lnTo>
                    <a:pt x="554" y="1299"/>
                  </a:lnTo>
                  <a:lnTo>
                    <a:pt x="552" y="1326"/>
                  </a:lnTo>
                  <a:lnTo>
                    <a:pt x="553" y="1354"/>
                  </a:lnTo>
                  <a:lnTo>
                    <a:pt x="560" y="1382"/>
                  </a:lnTo>
                  <a:lnTo>
                    <a:pt x="569" y="1409"/>
                  </a:lnTo>
                  <a:lnTo>
                    <a:pt x="582" y="1438"/>
                  </a:lnTo>
                  <a:lnTo>
                    <a:pt x="600" y="1466"/>
                  </a:lnTo>
                  <a:lnTo>
                    <a:pt x="620" y="1493"/>
                  </a:lnTo>
                  <a:lnTo>
                    <a:pt x="646" y="1519"/>
                  </a:lnTo>
                  <a:lnTo>
                    <a:pt x="675" y="1543"/>
                  </a:lnTo>
                  <a:lnTo>
                    <a:pt x="707" y="1565"/>
                  </a:lnTo>
                  <a:lnTo>
                    <a:pt x="743" y="1585"/>
                  </a:lnTo>
                  <a:lnTo>
                    <a:pt x="784" y="1603"/>
                  </a:lnTo>
                  <a:lnTo>
                    <a:pt x="827" y="1617"/>
                  </a:lnTo>
                  <a:lnTo>
                    <a:pt x="875" y="1629"/>
                  </a:lnTo>
                  <a:lnTo>
                    <a:pt x="927" y="1636"/>
                  </a:lnTo>
                  <a:lnTo>
                    <a:pt x="983" y="1640"/>
                  </a:lnTo>
                  <a:lnTo>
                    <a:pt x="983" y="1745"/>
                  </a:lnTo>
                  <a:lnTo>
                    <a:pt x="985" y="1760"/>
                  </a:lnTo>
                  <a:lnTo>
                    <a:pt x="990" y="1773"/>
                  </a:lnTo>
                  <a:lnTo>
                    <a:pt x="998" y="1786"/>
                  </a:lnTo>
                  <a:lnTo>
                    <a:pt x="1008" y="1795"/>
                  </a:lnTo>
                  <a:lnTo>
                    <a:pt x="1020" y="1800"/>
                  </a:lnTo>
                  <a:lnTo>
                    <a:pt x="1034" y="1804"/>
                  </a:lnTo>
                  <a:lnTo>
                    <a:pt x="1048" y="1800"/>
                  </a:lnTo>
                  <a:lnTo>
                    <a:pt x="1061" y="1795"/>
                  </a:lnTo>
                  <a:lnTo>
                    <a:pt x="1070" y="1786"/>
                  </a:lnTo>
                  <a:lnTo>
                    <a:pt x="1079" y="1773"/>
                  </a:lnTo>
                  <a:lnTo>
                    <a:pt x="1083" y="1760"/>
                  </a:lnTo>
                  <a:lnTo>
                    <a:pt x="1085" y="1745"/>
                  </a:lnTo>
                  <a:lnTo>
                    <a:pt x="1085" y="1640"/>
                  </a:lnTo>
                  <a:lnTo>
                    <a:pt x="1135" y="1635"/>
                  </a:lnTo>
                  <a:lnTo>
                    <a:pt x="1182" y="1628"/>
                  </a:lnTo>
                  <a:lnTo>
                    <a:pt x="1227" y="1618"/>
                  </a:lnTo>
                  <a:lnTo>
                    <a:pt x="1268" y="1605"/>
                  </a:lnTo>
                  <a:lnTo>
                    <a:pt x="1308" y="1591"/>
                  </a:lnTo>
                  <a:lnTo>
                    <a:pt x="1344" y="1572"/>
                  </a:lnTo>
                  <a:lnTo>
                    <a:pt x="1377" y="1551"/>
                  </a:lnTo>
                  <a:lnTo>
                    <a:pt x="1407" y="1528"/>
                  </a:lnTo>
                  <a:lnTo>
                    <a:pt x="1433" y="1501"/>
                  </a:lnTo>
                  <a:lnTo>
                    <a:pt x="1456" y="1472"/>
                  </a:lnTo>
                  <a:lnTo>
                    <a:pt x="1474" y="1439"/>
                  </a:lnTo>
                  <a:lnTo>
                    <a:pt x="1489" y="1404"/>
                  </a:lnTo>
                  <a:lnTo>
                    <a:pt x="1501" y="1366"/>
                  </a:lnTo>
                  <a:lnTo>
                    <a:pt x="1507" y="1324"/>
                  </a:lnTo>
                  <a:lnTo>
                    <a:pt x="1509" y="1281"/>
                  </a:lnTo>
                  <a:lnTo>
                    <a:pt x="1507" y="1236"/>
                  </a:lnTo>
                  <a:lnTo>
                    <a:pt x="1502" y="1195"/>
                  </a:lnTo>
                  <a:lnTo>
                    <a:pt x="1491" y="1159"/>
                  </a:lnTo>
                  <a:lnTo>
                    <a:pt x="1478" y="1125"/>
                  </a:lnTo>
                  <a:lnTo>
                    <a:pt x="1462" y="1095"/>
                  </a:lnTo>
                  <a:lnTo>
                    <a:pt x="1442" y="1068"/>
                  </a:lnTo>
                  <a:lnTo>
                    <a:pt x="1420" y="1044"/>
                  </a:lnTo>
                  <a:lnTo>
                    <a:pt x="1395" y="1022"/>
                  </a:lnTo>
                  <a:lnTo>
                    <a:pt x="1368" y="1002"/>
                  </a:lnTo>
                  <a:lnTo>
                    <a:pt x="1338" y="984"/>
                  </a:lnTo>
                  <a:lnTo>
                    <a:pt x="1306" y="969"/>
                  </a:lnTo>
                  <a:lnTo>
                    <a:pt x="1273" y="956"/>
                  </a:lnTo>
                  <a:lnTo>
                    <a:pt x="1238" y="943"/>
                  </a:lnTo>
                  <a:lnTo>
                    <a:pt x="1201" y="932"/>
                  </a:lnTo>
                  <a:lnTo>
                    <a:pt x="1163" y="921"/>
                  </a:lnTo>
                  <a:lnTo>
                    <a:pt x="1125" y="913"/>
                  </a:lnTo>
                  <a:lnTo>
                    <a:pt x="1085" y="903"/>
                  </a:lnTo>
                  <a:lnTo>
                    <a:pt x="1085" y="581"/>
                  </a:lnTo>
                  <a:lnTo>
                    <a:pt x="1117" y="583"/>
                  </a:lnTo>
                  <a:lnTo>
                    <a:pt x="1145" y="588"/>
                  </a:lnTo>
                  <a:lnTo>
                    <a:pt x="1169" y="597"/>
                  </a:lnTo>
                  <a:lnTo>
                    <a:pt x="1191" y="607"/>
                  </a:lnTo>
                  <a:lnTo>
                    <a:pt x="1210" y="620"/>
                  </a:lnTo>
                  <a:lnTo>
                    <a:pt x="1227" y="635"/>
                  </a:lnTo>
                  <a:lnTo>
                    <a:pt x="1243" y="650"/>
                  </a:lnTo>
                  <a:lnTo>
                    <a:pt x="1257" y="666"/>
                  </a:lnTo>
                  <a:lnTo>
                    <a:pt x="1270" y="683"/>
                  </a:lnTo>
                  <a:lnTo>
                    <a:pt x="1282" y="699"/>
                  </a:lnTo>
                  <a:lnTo>
                    <a:pt x="1295" y="714"/>
                  </a:lnTo>
                  <a:lnTo>
                    <a:pt x="1307" y="728"/>
                  </a:lnTo>
                  <a:lnTo>
                    <a:pt x="1320" y="740"/>
                  </a:lnTo>
                  <a:lnTo>
                    <a:pt x="1334" y="751"/>
                  </a:lnTo>
                  <a:lnTo>
                    <a:pt x="1348" y="758"/>
                  </a:lnTo>
                  <a:lnTo>
                    <a:pt x="1364" y="764"/>
                  </a:lnTo>
                  <a:lnTo>
                    <a:pt x="1384" y="766"/>
                  </a:lnTo>
                  <a:lnTo>
                    <a:pt x="1405" y="764"/>
                  </a:lnTo>
                  <a:lnTo>
                    <a:pt x="1424" y="758"/>
                  </a:lnTo>
                  <a:lnTo>
                    <a:pt x="1442" y="750"/>
                  </a:lnTo>
                  <a:lnTo>
                    <a:pt x="1458" y="738"/>
                  </a:lnTo>
                  <a:lnTo>
                    <a:pt x="1472" y="723"/>
                  </a:lnTo>
                  <a:lnTo>
                    <a:pt x="1482" y="705"/>
                  </a:lnTo>
                  <a:lnTo>
                    <a:pt x="1488" y="684"/>
                  </a:lnTo>
                  <a:lnTo>
                    <a:pt x="1491" y="660"/>
                  </a:lnTo>
                  <a:lnTo>
                    <a:pt x="1488" y="630"/>
                  </a:lnTo>
                  <a:lnTo>
                    <a:pt x="1478" y="602"/>
                  </a:lnTo>
                  <a:lnTo>
                    <a:pt x="1465" y="575"/>
                  </a:lnTo>
                  <a:lnTo>
                    <a:pt x="1446" y="551"/>
                  </a:lnTo>
                  <a:lnTo>
                    <a:pt x="1423" y="528"/>
                  </a:lnTo>
                  <a:lnTo>
                    <a:pt x="1397" y="507"/>
                  </a:lnTo>
                  <a:lnTo>
                    <a:pt x="1369" y="489"/>
                  </a:lnTo>
                  <a:lnTo>
                    <a:pt x="1338" y="472"/>
                  </a:lnTo>
                  <a:lnTo>
                    <a:pt x="1306" y="457"/>
                  </a:lnTo>
                  <a:lnTo>
                    <a:pt x="1272" y="444"/>
                  </a:lnTo>
                  <a:lnTo>
                    <a:pt x="1239" y="433"/>
                  </a:lnTo>
                  <a:lnTo>
                    <a:pt x="1205" y="424"/>
                  </a:lnTo>
                  <a:lnTo>
                    <a:pt x="1172" y="416"/>
                  </a:lnTo>
                  <a:lnTo>
                    <a:pt x="1141" y="411"/>
                  </a:lnTo>
                  <a:lnTo>
                    <a:pt x="1112" y="408"/>
                  </a:lnTo>
                  <a:lnTo>
                    <a:pt x="1085" y="407"/>
                  </a:lnTo>
                  <a:lnTo>
                    <a:pt x="1085" y="315"/>
                  </a:lnTo>
                  <a:lnTo>
                    <a:pt x="1083" y="301"/>
                  </a:lnTo>
                  <a:lnTo>
                    <a:pt x="1079" y="288"/>
                  </a:lnTo>
                  <a:lnTo>
                    <a:pt x="1070" y="276"/>
                  </a:lnTo>
                  <a:lnTo>
                    <a:pt x="1061" y="266"/>
                  </a:lnTo>
                  <a:lnTo>
                    <a:pt x="1048" y="260"/>
                  </a:lnTo>
                  <a:lnTo>
                    <a:pt x="1034" y="258"/>
                  </a:lnTo>
                  <a:close/>
                  <a:moveTo>
                    <a:pt x="1031" y="0"/>
                  </a:moveTo>
                  <a:lnTo>
                    <a:pt x="1115" y="3"/>
                  </a:lnTo>
                  <a:lnTo>
                    <a:pt x="1197" y="14"/>
                  </a:lnTo>
                  <a:lnTo>
                    <a:pt x="1278" y="30"/>
                  </a:lnTo>
                  <a:lnTo>
                    <a:pt x="1356" y="53"/>
                  </a:lnTo>
                  <a:lnTo>
                    <a:pt x="1432" y="81"/>
                  </a:lnTo>
                  <a:lnTo>
                    <a:pt x="1504" y="115"/>
                  </a:lnTo>
                  <a:lnTo>
                    <a:pt x="1573" y="154"/>
                  </a:lnTo>
                  <a:lnTo>
                    <a:pt x="1639" y="199"/>
                  </a:lnTo>
                  <a:lnTo>
                    <a:pt x="1701" y="248"/>
                  </a:lnTo>
                  <a:lnTo>
                    <a:pt x="1759" y="302"/>
                  </a:lnTo>
                  <a:lnTo>
                    <a:pt x="1813" y="360"/>
                  </a:lnTo>
                  <a:lnTo>
                    <a:pt x="1862" y="423"/>
                  </a:lnTo>
                  <a:lnTo>
                    <a:pt x="1907" y="488"/>
                  </a:lnTo>
                  <a:lnTo>
                    <a:pt x="1946" y="557"/>
                  </a:lnTo>
                  <a:lnTo>
                    <a:pt x="1980" y="630"/>
                  </a:lnTo>
                  <a:lnTo>
                    <a:pt x="2009" y="705"/>
                  </a:lnTo>
                  <a:lnTo>
                    <a:pt x="2032" y="783"/>
                  </a:lnTo>
                  <a:lnTo>
                    <a:pt x="2048" y="864"/>
                  </a:lnTo>
                  <a:lnTo>
                    <a:pt x="2058" y="946"/>
                  </a:lnTo>
                  <a:lnTo>
                    <a:pt x="2061" y="1030"/>
                  </a:lnTo>
                  <a:lnTo>
                    <a:pt x="2058" y="1115"/>
                  </a:lnTo>
                  <a:lnTo>
                    <a:pt x="2048" y="1197"/>
                  </a:lnTo>
                  <a:lnTo>
                    <a:pt x="2032" y="1277"/>
                  </a:lnTo>
                  <a:lnTo>
                    <a:pt x="2009" y="1356"/>
                  </a:lnTo>
                  <a:lnTo>
                    <a:pt x="1980" y="1431"/>
                  </a:lnTo>
                  <a:lnTo>
                    <a:pt x="1946" y="1503"/>
                  </a:lnTo>
                  <a:lnTo>
                    <a:pt x="1907" y="1572"/>
                  </a:lnTo>
                  <a:lnTo>
                    <a:pt x="1862" y="1639"/>
                  </a:lnTo>
                  <a:lnTo>
                    <a:pt x="1813" y="1700"/>
                  </a:lnTo>
                  <a:lnTo>
                    <a:pt x="1759" y="1759"/>
                  </a:lnTo>
                  <a:lnTo>
                    <a:pt x="1701" y="1812"/>
                  </a:lnTo>
                  <a:lnTo>
                    <a:pt x="1639" y="1862"/>
                  </a:lnTo>
                  <a:lnTo>
                    <a:pt x="1573" y="1906"/>
                  </a:lnTo>
                  <a:lnTo>
                    <a:pt x="1504" y="1945"/>
                  </a:lnTo>
                  <a:lnTo>
                    <a:pt x="1432" y="1979"/>
                  </a:lnTo>
                  <a:lnTo>
                    <a:pt x="1356" y="2008"/>
                  </a:lnTo>
                  <a:lnTo>
                    <a:pt x="1278" y="2031"/>
                  </a:lnTo>
                  <a:lnTo>
                    <a:pt x="1197" y="2048"/>
                  </a:lnTo>
                  <a:lnTo>
                    <a:pt x="1115" y="2057"/>
                  </a:lnTo>
                  <a:lnTo>
                    <a:pt x="1031" y="2062"/>
                  </a:lnTo>
                  <a:lnTo>
                    <a:pt x="947" y="2057"/>
                  </a:lnTo>
                  <a:lnTo>
                    <a:pt x="863" y="2048"/>
                  </a:lnTo>
                  <a:lnTo>
                    <a:pt x="784" y="2031"/>
                  </a:lnTo>
                  <a:lnTo>
                    <a:pt x="705" y="2008"/>
                  </a:lnTo>
                  <a:lnTo>
                    <a:pt x="630" y="1979"/>
                  </a:lnTo>
                  <a:lnTo>
                    <a:pt x="558" y="1945"/>
                  </a:lnTo>
                  <a:lnTo>
                    <a:pt x="488" y="1906"/>
                  </a:lnTo>
                  <a:lnTo>
                    <a:pt x="422" y="1862"/>
                  </a:lnTo>
                  <a:lnTo>
                    <a:pt x="360" y="1812"/>
                  </a:lnTo>
                  <a:lnTo>
                    <a:pt x="302" y="1759"/>
                  </a:lnTo>
                  <a:lnTo>
                    <a:pt x="249" y="1700"/>
                  </a:lnTo>
                  <a:lnTo>
                    <a:pt x="199" y="1639"/>
                  </a:lnTo>
                  <a:lnTo>
                    <a:pt x="155" y="1572"/>
                  </a:lnTo>
                  <a:lnTo>
                    <a:pt x="115" y="1503"/>
                  </a:lnTo>
                  <a:lnTo>
                    <a:pt x="81" y="1431"/>
                  </a:lnTo>
                  <a:lnTo>
                    <a:pt x="52" y="1356"/>
                  </a:lnTo>
                  <a:lnTo>
                    <a:pt x="30" y="1277"/>
                  </a:lnTo>
                  <a:lnTo>
                    <a:pt x="13" y="1197"/>
                  </a:lnTo>
                  <a:lnTo>
                    <a:pt x="3" y="1115"/>
                  </a:lnTo>
                  <a:lnTo>
                    <a:pt x="0" y="1030"/>
                  </a:lnTo>
                  <a:lnTo>
                    <a:pt x="3" y="946"/>
                  </a:lnTo>
                  <a:lnTo>
                    <a:pt x="13" y="864"/>
                  </a:lnTo>
                  <a:lnTo>
                    <a:pt x="30" y="783"/>
                  </a:lnTo>
                  <a:lnTo>
                    <a:pt x="52" y="705"/>
                  </a:lnTo>
                  <a:lnTo>
                    <a:pt x="81" y="630"/>
                  </a:lnTo>
                  <a:lnTo>
                    <a:pt x="115" y="557"/>
                  </a:lnTo>
                  <a:lnTo>
                    <a:pt x="155" y="488"/>
                  </a:lnTo>
                  <a:lnTo>
                    <a:pt x="199" y="423"/>
                  </a:lnTo>
                  <a:lnTo>
                    <a:pt x="249" y="360"/>
                  </a:lnTo>
                  <a:lnTo>
                    <a:pt x="302" y="302"/>
                  </a:lnTo>
                  <a:lnTo>
                    <a:pt x="360" y="248"/>
                  </a:lnTo>
                  <a:lnTo>
                    <a:pt x="422" y="199"/>
                  </a:lnTo>
                  <a:lnTo>
                    <a:pt x="488" y="154"/>
                  </a:lnTo>
                  <a:lnTo>
                    <a:pt x="558" y="115"/>
                  </a:lnTo>
                  <a:lnTo>
                    <a:pt x="630" y="81"/>
                  </a:lnTo>
                  <a:lnTo>
                    <a:pt x="705" y="53"/>
                  </a:lnTo>
                  <a:lnTo>
                    <a:pt x="784" y="30"/>
                  </a:lnTo>
                  <a:lnTo>
                    <a:pt x="863" y="14"/>
                  </a:lnTo>
                  <a:lnTo>
                    <a:pt x="947" y="3"/>
                  </a:lnTo>
                  <a:lnTo>
                    <a:pt x="10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algn="ctr"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9" name="Group 46"/>
          <p:cNvGrpSpPr>
            <a:grpSpLocks noChangeAspect="1"/>
          </p:cNvGrpSpPr>
          <p:nvPr/>
        </p:nvGrpSpPr>
        <p:grpSpPr bwMode="auto">
          <a:xfrm>
            <a:off x="455539" y="3606704"/>
            <a:ext cx="438569" cy="483421"/>
            <a:chOff x="-50" y="1924"/>
            <a:chExt cx="176" cy="194"/>
          </a:xfrm>
          <a:solidFill>
            <a:schemeClr val="accent3"/>
          </a:solidFill>
        </p:grpSpPr>
        <p:sp>
          <p:nvSpPr>
            <p:cNvPr id="60" name="Freeform 48"/>
            <p:cNvSpPr>
              <a:spLocks noEditPoints="1"/>
            </p:cNvSpPr>
            <p:nvPr/>
          </p:nvSpPr>
          <p:spPr bwMode="auto">
            <a:xfrm>
              <a:off x="65" y="1992"/>
              <a:ext cx="50" cy="52"/>
            </a:xfrm>
            <a:custGeom>
              <a:avLst/>
              <a:gdLst>
                <a:gd name="T0" fmla="*/ 216 w 592"/>
                <a:gd name="T1" fmla="*/ 205 h 627"/>
                <a:gd name="T2" fmla="*/ 189 w 592"/>
                <a:gd name="T3" fmla="*/ 224 h 627"/>
                <a:gd name="T4" fmla="*/ 148 w 592"/>
                <a:gd name="T5" fmla="*/ 244 h 627"/>
                <a:gd name="T6" fmla="*/ 102 w 592"/>
                <a:gd name="T7" fmla="*/ 264 h 627"/>
                <a:gd name="T8" fmla="*/ 58 w 592"/>
                <a:gd name="T9" fmla="*/ 280 h 627"/>
                <a:gd name="T10" fmla="*/ 38 w 592"/>
                <a:gd name="T11" fmla="*/ 307 h 627"/>
                <a:gd name="T12" fmla="*/ 46 w 592"/>
                <a:gd name="T13" fmla="*/ 374 h 627"/>
                <a:gd name="T14" fmla="*/ 70 w 592"/>
                <a:gd name="T15" fmla="*/ 439 h 627"/>
                <a:gd name="T16" fmla="*/ 108 w 592"/>
                <a:gd name="T17" fmla="*/ 498 h 627"/>
                <a:gd name="T18" fmla="*/ 157 w 592"/>
                <a:gd name="T19" fmla="*/ 546 h 627"/>
                <a:gd name="T20" fmla="*/ 217 w 592"/>
                <a:gd name="T21" fmla="*/ 578 h 627"/>
                <a:gd name="T22" fmla="*/ 284 w 592"/>
                <a:gd name="T23" fmla="*/ 590 h 627"/>
                <a:gd name="T24" fmla="*/ 352 w 592"/>
                <a:gd name="T25" fmla="*/ 578 h 627"/>
                <a:gd name="T26" fmla="*/ 412 w 592"/>
                <a:gd name="T27" fmla="*/ 546 h 627"/>
                <a:gd name="T28" fmla="*/ 463 w 592"/>
                <a:gd name="T29" fmla="*/ 497 h 627"/>
                <a:gd name="T30" fmla="*/ 502 w 592"/>
                <a:gd name="T31" fmla="*/ 438 h 627"/>
                <a:gd name="T32" fmla="*/ 527 w 592"/>
                <a:gd name="T33" fmla="*/ 373 h 627"/>
                <a:gd name="T34" fmla="*/ 537 w 592"/>
                <a:gd name="T35" fmla="*/ 307 h 627"/>
                <a:gd name="T36" fmla="*/ 534 w 592"/>
                <a:gd name="T37" fmla="*/ 291 h 627"/>
                <a:gd name="T38" fmla="*/ 483 w 592"/>
                <a:gd name="T39" fmla="*/ 284 h 627"/>
                <a:gd name="T40" fmla="*/ 419 w 592"/>
                <a:gd name="T41" fmla="*/ 272 h 627"/>
                <a:gd name="T42" fmla="*/ 351 w 592"/>
                <a:gd name="T43" fmla="*/ 256 h 627"/>
                <a:gd name="T44" fmla="*/ 289 w 592"/>
                <a:gd name="T45" fmla="*/ 236 h 627"/>
                <a:gd name="T46" fmla="*/ 240 w 592"/>
                <a:gd name="T47" fmla="*/ 211 h 627"/>
                <a:gd name="T48" fmla="*/ 329 w 592"/>
                <a:gd name="T49" fmla="*/ 0 h 627"/>
                <a:gd name="T50" fmla="*/ 414 w 592"/>
                <a:gd name="T51" fmla="*/ 15 h 627"/>
                <a:gd name="T52" fmla="*/ 485 w 592"/>
                <a:gd name="T53" fmla="*/ 45 h 627"/>
                <a:gd name="T54" fmla="*/ 524 w 592"/>
                <a:gd name="T55" fmla="*/ 80 h 627"/>
                <a:gd name="T56" fmla="*/ 549 w 592"/>
                <a:gd name="T57" fmla="*/ 125 h 627"/>
                <a:gd name="T58" fmla="*/ 564 w 592"/>
                <a:gd name="T59" fmla="*/ 180 h 627"/>
                <a:gd name="T60" fmla="*/ 571 w 592"/>
                <a:gd name="T61" fmla="*/ 242 h 627"/>
                <a:gd name="T62" fmla="*/ 573 w 592"/>
                <a:gd name="T63" fmla="*/ 280 h 627"/>
                <a:gd name="T64" fmla="*/ 584 w 592"/>
                <a:gd name="T65" fmla="*/ 291 h 627"/>
                <a:gd name="T66" fmla="*/ 592 w 592"/>
                <a:gd name="T67" fmla="*/ 313 h 627"/>
                <a:gd name="T68" fmla="*/ 586 w 592"/>
                <a:gd name="T69" fmla="*/ 372 h 627"/>
                <a:gd name="T70" fmla="*/ 572 w 592"/>
                <a:gd name="T71" fmla="*/ 384 h 627"/>
                <a:gd name="T72" fmla="*/ 552 w 592"/>
                <a:gd name="T73" fmla="*/ 421 h 627"/>
                <a:gd name="T74" fmla="*/ 520 w 592"/>
                <a:gd name="T75" fmla="*/ 485 h 627"/>
                <a:gd name="T76" fmla="*/ 475 w 592"/>
                <a:gd name="T77" fmla="*/ 542 h 627"/>
                <a:gd name="T78" fmla="*/ 420 w 592"/>
                <a:gd name="T79" fmla="*/ 587 h 627"/>
                <a:gd name="T80" fmla="*/ 356 w 592"/>
                <a:gd name="T81" fmla="*/ 617 h 627"/>
                <a:gd name="T82" fmla="*/ 284 w 592"/>
                <a:gd name="T83" fmla="*/ 627 h 627"/>
                <a:gd name="T84" fmla="*/ 211 w 592"/>
                <a:gd name="T85" fmla="*/ 616 h 627"/>
                <a:gd name="T86" fmla="*/ 146 w 592"/>
                <a:gd name="T87" fmla="*/ 583 h 627"/>
                <a:gd name="T88" fmla="*/ 90 w 592"/>
                <a:gd name="T89" fmla="*/ 535 h 627"/>
                <a:gd name="T90" fmla="*/ 46 w 592"/>
                <a:gd name="T91" fmla="*/ 474 h 627"/>
                <a:gd name="T92" fmla="*/ 41 w 592"/>
                <a:gd name="T93" fmla="*/ 402 h 627"/>
                <a:gd name="T94" fmla="*/ 26 w 592"/>
                <a:gd name="T95" fmla="*/ 335 h 627"/>
                <a:gd name="T96" fmla="*/ 1 w 592"/>
                <a:gd name="T97" fmla="*/ 274 h 627"/>
                <a:gd name="T98" fmla="*/ 1 w 592"/>
                <a:gd name="T99" fmla="*/ 224 h 627"/>
                <a:gd name="T100" fmla="*/ 11 w 592"/>
                <a:gd name="T101" fmla="*/ 172 h 627"/>
                <a:gd name="T102" fmla="*/ 32 w 592"/>
                <a:gd name="T103" fmla="*/ 122 h 627"/>
                <a:gd name="T104" fmla="*/ 64 w 592"/>
                <a:gd name="T105" fmla="*/ 80 h 627"/>
                <a:gd name="T106" fmla="*/ 110 w 592"/>
                <a:gd name="T107" fmla="*/ 48 h 627"/>
                <a:gd name="T108" fmla="*/ 170 w 592"/>
                <a:gd name="T109" fmla="*/ 30 h 627"/>
                <a:gd name="T110" fmla="*/ 183 w 592"/>
                <a:gd name="T111" fmla="*/ 31 h 627"/>
                <a:gd name="T112" fmla="*/ 199 w 592"/>
                <a:gd name="T113" fmla="*/ 33 h 627"/>
                <a:gd name="T114" fmla="*/ 208 w 592"/>
                <a:gd name="T115" fmla="*/ 30 h 627"/>
                <a:gd name="T116" fmla="*/ 218 w 592"/>
                <a:gd name="T117" fmla="*/ 19 h 627"/>
                <a:gd name="T118" fmla="*/ 254 w 592"/>
                <a:gd name="T119" fmla="*/ 6 h 627"/>
                <a:gd name="T120" fmla="*/ 329 w 592"/>
                <a:gd name="T121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92" h="627">
                  <a:moveTo>
                    <a:pt x="222" y="198"/>
                  </a:moveTo>
                  <a:lnTo>
                    <a:pt x="216" y="205"/>
                  </a:lnTo>
                  <a:lnTo>
                    <a:pt x="204" y="214"/>
                  </a:lnTo>
                  <a:lnTo>
                    <a:pt x="189" y="224"/>
                  </a:lnTo>
                  <a:lnTo>
                    <a:pt x="170" y="233"/>
                  </a:lnTo>
                  <a:lnTo>
                    <a:pt x="148" y="244"/>
                  </a:lnTo>
                  <a:lnTo>
                    <a:pt x="126" y="253"/>
                  </a:lnTo>
                  <a:lnTo>
                    <a:pt x="102" y="264"/>
                  </a:lnTo>
                  <a:lnTo>
                    <a:pt x="79" y="272"/>
                  </a:lnTo>
                  <a:lnTo>
                    <a:pt x="58" y="280"/>
                  </a:lnTo>
                  <a:lnTo>
                    <a:pt x="39" y="288"/>
                  </a:lnTo>
                  <a:lnTo>
                    <a:pt x="38" y="307"/>
                  </a:lnTo>
                  <a:lnTo>
                    <a:pt x="40" y="340"/>
                  </a:lnTo>
                  <a:lnTo>
                    <a:pt x="46" y="374"/>
                  </a:lnTo>
                  <a:lnTo>
                    <a:pt x="57" y="407"/>
                  </a:lnTo>
                  <a:lnTo>
                    <a:pt x="70" y="439"/>
                  </a:lnTo>
                  <a:lnTo>
                    <a:pt x="88" y="470"/>
                  </a:lnTo>
                  <a:lnTo>
                    <a:pt x="108" y="498"/>
                  </a:lnTo>
                  <a:lnTo>
                    <a:pt x="132" y="524"/>
                  </a:lnTo>
                  <a:lnTo>
                    <a:pt x="157" y="546"/>
                  </a:lnTo>
                  <a:lnTo>
                    <a:pt x="187" y="564"/>
                  </a:lnTo>
                  <a:lnTo>
                    <a:pt x="217" y="578"/>
                  </a:lnTo>
                  <a:lnTo>
                    <a:pt x="249" y="586"/>
                  </a:lnTo>
                  <a:lnTo>
                    <a:pt x="284" y="590"/>
                  </a:lnTo>
                  <a:lnTo>
                    <a:pt x="319" y="586"/>
                  </a:lnTo>
                  <a:lnTo>
                    <a:pt x="352" y="578"/>
                  </a:lnTo>
                  <a:lnTo>
                    <a:pt x="384" y="563"/>
                  </a:lnTo>
                  <a:lnTo>
                    <a:pt x="412" y="546"/>
                  </a:lnTo>
                  <a:lnTo>
                    <a:pt x="439" y="522"/>
                  </a:lnTo>
                  <a:lnTo>
                    <a:pt x="463" y="497"/>
                  </a:lnTo>
                  <a:lnTo>
                    <a:pt x="484" y="468"/>
                  </a:lnTo>
                  <a:lnTo>
                    <a:pt x="502" y="438"/>
                  </a:lnTo>
                  <a:lnTo>
                    <a:pt x="517" y="406"/>
                  </a:lnTo>
                  <a:lnTo>
                    <a:pt x="527" y="373"/>
                  </a:lnTo>
                  <a:lnTo>
                    <a:pt x="533" y="339"/>
                  </a:lnTo>
                  <a:lnTo>
                    <a:pt x="537" y="307"/>
                  </a:lnTo>
                  <a:lnTo>
                    <a:pt x="535" y="298"/>
                  </a:lnTo>
                  <a:lnTo>
                    <a:pt x="534" y="291"/>
                  </a:lnTo>
                  <a:lnTo>
                    <a:pt x="510" y="288"/>
                  </a:lnTo>
                  <a:lnTo>
                    <a:pt x="483" y="284"/>
                  </a:lnTo>
                  <a:lnTo>
                    <a:pt x="452" y="278"/>
                  </a:lnTo>
                  <a:lnTo>
                    <a:pt x="419" y="272"/>
                  </a:lnTo>
                  <a:lnTo>
                    <a:pt x="385" y="265"/>
                  </a:lnTo>
                  <a:lnTo>
                    <a:pt x="351" y="256"/>
                  </a:lnTo>
                  <a:lnTo>
                    <a:pt x="319" y="247"/>
                  </a:lnTo>
                  <a:lnTo>
                    <a:pt x="289" y="236"/>
                  </a:lnTo>
                  <a:lnTo>
                    <a:pt x="262" y="225"/>
                  </a:lnTo>
                  <a:lnTo>
                    <a:pt x="240" y="211"/>
                  </a:lnTo>
                  <a:lnTo>
                    <a:pt x="222" y="198"/>
                  </a:lnTo>
                  <a:close/>
                  <a:moveTo>
                    <a:pt x="329" y="0"/>
                  </a:moveTo>
                  <a:lnTo>
                    <a:pt x="370" y="5"/>
                  </a:lnTo>
                  <a:lnTo>
                    <a:pt x="414" y="15"/>
                  </a:lnTo>
                  <a:lnTo>
                    <a:pt x="461" y="32"/>
                  </a:lnTo>
                  <a:lnTo>
                    <a:pt x="485" y="45"/>
                  </a:lnTo>
                  <a:lnTo>
                    <a:pt x="506" y="62"/>
                  </a:lnTo>
                  <a:lnTo>
                    <a:pt x="524" y="80"/>
                  </a:lnTo>
                  <a:lnTo>
                    <a:pt x="538" y="101"/>
                  </a:lnTo>
                  <a:lnTo>
                    <a:pt x="549" y="125"/>
                  </a:lnTo>
                  <a:lnTo>
                    <a:pt x="557" y="152"/>
                  </a:lnTo>
                  <a:lnTo>
                    <a:pt x="564" y="180"/>
                  </a:lnTo>
                  <a:lnTo>
                    <a:pt x="568" y="210"/>
                  </a:lnTo>
                  <a:lnTo>
                    <a:pt x="571" y="242"/>
                  </a:lnTo>
                  <a:lnTo>
                    <a:pt x="572" y="275"/>
                  </a:lnTo>
                  <a:lnTo>
                    <a:pt x="573" y="280"/>
                  </a:lnTo>
                  <a:lnTo>
                    <a:pt x="573" y="285"/>
                  </a:lnTo>
                  <a:lnTo>
                    <a:pt x="584" y="291"/>
                  </a:lnTo>
                  <a:lnTo>
                    <a:pt x="590" y="300"/>
                  </a:lnTo>
                  <a:lnTo>
                    <a:pt x="592" y="313"/>
                  </a:lnTo>
                  <a:lnTo>
                    <a:pt x="588" y="362"/>
                  </a:lnTo>
                  <a:lnTo>
                    <a:pt x="586" y="372"/>
                  </a:lnTo>
                  <a:lnTo>
                    <a:pt x="579" y="379"/>
                  </a:lnTo>
                  <a:lnTo>
                    <a:pt x="572" y="384"/>
                  </a:lnTo>
                  <a:lnTo>
                    <a:pt x="563" y="387"/>
                  </a:lnTo>
                  <a:lnTo>
                    <a:pt x="552" y="421"/>
                  </a:lnTo>
                  <a:lnTo>
                    <a:pt x="538" y="453"/>
                  </a:lnTo>
                  <a:lnTo>
                    <a:pt x="520" y="485"/>
                  </a:lnTo>
                  <a:lnTo>
                    <a:pt x="499" y="515"/>
                  </a:lnTo>
                  <a:lnTo>
                    <a:pt x="475" y="542"/>
                  </a:lnTo>
                  <a:lnTo>
                    <a:pt x="449" y="566"/>
                  </a:lnTo>
                  <a:lnTo>
                    <a:pt x="420" y="587"/>
                  </a:lnTo>
                  <a:lnTo>
                    <a:pt x="389" y="604"/>
                  </a:lnTo>
                  <a:lnTo>
                    <a:pt x="356" y="617"/>
                  </a:lnTo>
                  <a:lnTo>
                    <a:pt x="321" y="625"/>
                  </a:lnTo>
                  <a:lnTo>
                    <a:pt x="284" y="627"/>
                  </a:lnTo>
                  <a:lnTo>
                    <a:pt x="247" y="625"/>
                  </a:lnTo>
                  <a:lnTo>
                    <a:pt x="211" y="616"/>
                  </a:lnTo>
                  <a:lnTo>
                    <a:pt x="177" y="602"/>
                  </a:lnTo>
                  <a:lnTo>
                    <a:pt x="146" y="583"/>
                  </a:lnTo>
                  <a:lnTo>
                    <a:pt x="116" y="561"/>
                  </a:lnTo>
                  <a:lnTo>
                    <a:pt x="90" y="535"/>
                  </a:lnTo>
                  <a:lnTo>
                    <a:pt x="67" y="506"/>
                  </a:lnTo>
                  <a:lnTo>
                    <a:pt x="46" y="474"/>
                  </a:lnTo>
                  <a:lnTo>
                    <a:pt x="44" y="438"/>
                  </a:lnTo>
                  <a:lnTo>
                    <a:pt x="41" y="402"/>
                  </a:lnTo>
                  <a:lnTo>
                    <a:pt x="35" y="367"/>
                  </a:lnTo>
                  <a:lnTo>
                    <a:pt x="26" y="335"/>
                  </a:lnTo>
                  <a:lnTo>
                    <a:pt x="16" y="304"/>
                  </a:lnTo>
                  <a:lnTo>
                    <a:pt x="1" y="274"/>
                  </a:lnTo>
                  <a:lnTo>
                    <a:pt x="0" y="249"/>
                  </a:lnTo>
                  <a:lnTo>
                    <a:pt x="1" y="224"/>
                  </a:lnTo>
                  <a:lnTo>
                    <a:pt x="4" y="198"/>
                  </a:lnTo>
                  <a:lnTo>
                    <a:pt x="11" y="172"/>
                  </a:lnTo>
                  <a:lnTo>
                    <a:pt x="20" y="146"/>
                  </a:lnTo>
                  <a:lnTo>
                    <a:pt x="32" y="122"/>
                  </a:lnTo>
                  <a:lnTo>
                    <a:pt x="46" y="100"/>
                  </a:lnTo>
                  <a:lnTo>
                    <a:pt x="64" y="80"/>
                  </a:lnTo>
                  <a:lnTo>
                    <a:pt x="85" y="63"/>
                  </a:lnTo>
                  <a:lnTo>
                    <a:pt x="110" y="48"/>
                  </a:lnTo>
                  <a:lnTo>
                    <a:pt x="138" y="37"/>
                  </a:lnTo>
                  <a:lnTo>
                    <a:pt x="170" y="30"/>
                  </a:lnTo>
                  <a:lnTo>
                    <a:pt x="176" y="30"/>
                  </a:lnTo>
                  <a:lnTo>
                    <a:pt x="183" y="31"/>
                  </a:lnTo>
                  <a:lnTo>
                    <a:pt x="192" y="33"/>
                  </a:lnTo>
                  <a:lnTo>
                    <a:pt x="199" y="33"/>
                  </a:lnTo>
                  <a:lnTo>
                    <a:pt x="203" y="33"/>
                  </a:lnTo>
                  <a:lnTo>
                    <a:pt x="208" y="30"/>
                  </a:lnTo>
                  <a:lnTo>
                    <a:pt x="213" y="24"/>
                  </a:lnTo>
                  <a:lnTo>
                    <a:pt x="218" y="19"/>
                  </a:lnTo>
                  <a:lnTo>
                    <a:pt x="221" y="15"/>
                  </a:lnTo>
                  <a:lnTo>
                    <a:pt x="254" y="6"/>
                  </a:lnTo>
                  <a:lnTo>
                    <a:pt x="289" y="1"/>
                  </a:lnTo>
                  <a:lnTo>
                    <a:pt x="3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49"/>
            <p:cNvSpPr>
              <a:spLocks noEditPoints="1"/>
            </p:cNvSpPr>
            <p:nvPr/>
          </p:nvSpPr>
          <p:spPr bwMode="auto">
            <a:xfrm>
              <a:off x="-38" y="1992"/>
              <a:ext cx="50" cy="52"/>
            </a:xfrm>
            <a:custGeom>
              <a:avLst/>
              <a:gdLst>
                <a:gd name="T0" fmla="*/ 225 w 600"/>
                <a:gd name="T1" fmla="*/ 214 h 627"/>
                <a:gd name="T2" fmla="*/ 168 w 600"/>
                <a:gd name="T3" fmla="*/ 244 h 627"/>
                <a:gd name="T4" fmla="*/ 99 w 600"/>
                <a:gd name="T5" fmla="*/ 272 h 627"/>
                <a:gd name="T6" fmla="*/ 58 w 600"/>
                <a:gd name="T7" fmla="*/ 307 h 627"/>
                <a:gd name="T8" fmla="*/ 76 w 600"/>
                <a:gd name="T9" fmla="*/ 407 h 627"/>
                <a:gd name="T10" fmla="*/ 128 w 600"/>
                <a:gd name="T11" fmla="*/ 498 h 627"/>
                <a:gd name="T12" fmla="*/ 206 w 600"/>
                <a:gd name="T13" fmla="*/ 564 h 627"/>
                <a:gd name="T14" fmla="*/ 304 w 600"/>
                <a:gd name="T15" fmla="*/ 590 h 627"/>
                <a:gd name="T16" fmla="*/ 404 w 600"/>
                <a:gd name="T17" fmla="*/ 563 h 627"/>
                <a:gd name="T18" fmla="*/ 484 w 600"/>
                <a:gd name="T19" fmla="*/ 497 h 627"/>
                <a:gd name="T20" fmla="*/ 537 w 600"/>
                <a:gd name="T21" fmla="*/ 406 h 627"/>
                <a:gd name="T22" fmla="*/ 556 w 600"/>
                <a:gd name="T23" fmla="*/ 307 h 627"/>
                <a:gd name="T24" fmla="*/ 531 w 600"/>
                <a:gd name="T25" fmla="*/ 288 h 627"/>
                <a:gd name="T26" fmla="*/ 439 w 600"/>
                <a:gd name="T27" fmla="*/ 272 h 627"/>
                <a:gd name="T28" fmla="*/ 339 w 600"/>
                <a:gd name="T29" fmla="*/ 247 h 627"/>
                <a:gd name="T30" fmla="*/ 259 w 600"/>
                <a:gd name="T31" fmla="*/ 211 h 627"/>
                <a:gd name="T32" fmla="*/ 366 w 600"/>
                <a:gd name="T33" fmla="*/ 2 h 627"/>
                <a:gd name="T34" fmla="*/ 482 w 600"/>
                <a:gd name="T35" fmla="*/ 32 h 627"/>
                <a:gd name="T36" fmla="*/ 544 w 600"/>
                <a:gd name="T37" fmla="*/ 80 h 627"/>
                <a:gd name="T38" fmla="*/ 578 w 600"/>
                <a:gd name="T39" fmla="*/ 152 h 627"/>
                <a:gd name="T40" fmla="*/ 592 w 600"/>
                <a:gd name="T41" fmla="*/ 243 h 627"/>
                <a:gd name="T42" fmla="*/ 594 w 600"/>
                <a:gd name="T43" fmla="*/ 285 h 627"/>
                <a:gd name="T44" fmla="*/ 600 w 600"/>
                <a:gd name="T45" fmla="*/ 290 h 627"/>
                <a:gd name="T46" fmla="*/ 556 w 600"/>
                <a:gd name="T47" fmla="*/ 395 h 627"/>
                <a:gd name="T48" fmla="*/ 529 w 600"/>
                <a:gd name="T49" fmla="*/ 502 h 627"/>
                <a:gd name="T50" fmla="*/ 447 w 600"/>
                <a:gd name="T51" fmla="*/ 582 h 627"/>
                <a:gd name="T52" fmla="*/ 343 w 600"/>
                <a:gd name="T53" fmla="*/ 624 h 627"/>
                <a:gd name="T54" fmla="*/ 234 w 600"/>
                <a:gd name="T55" fmla="*/ 617 h 627"/>
                <a:gd name="T56" fmla="*/ 142 w 600"/>
                <a:gd name="T57" fmla="*/ 565 h 627"/>
                <a:gd name="T58" fmla="*/ 73 w 600"/>
                <a:gd name="T59" fmla="*/ 485 h 627"/>
                <a:gd name="T60" fmla="*/ 30 w 600"/>
                <a:gd name="T61" fmla="*/ 386 h 627"/>
                <a:gd name="T62" fmla="*/ 7 w 600"/>
                <a:gd name="T63" fmla="*/ 371 h 627"/>
                <a:gd name="T64" fmla="*/ 1 w 600"/>
                <a:gd name="T65" fmla="*/ 301 h 627"/>
                <a:gd name="T66" fmla="*/ 21 w 600"/>
                <a:gd name="T67" fmla="*/ 283 h 627"/>
                <a:gd name="T68" fmla="*/ 21 w 600"/>
                <a:gd name="T69" fmla="*/ 249 h 627"/>
                <a:gd name="T70" fmla="*/ 31 w 600"/>
                <a:gd name="T71" fmla="*/ 172 h 627"/>
                <a:gd name="T72" fmla="*/ 67 w 600"/>
                <a:gd name="T73" fmla="*/ 100 h 627"/>
                <a:gd name="T74" fmla="*/ 131 w 600"/>
                <a:gd name="T75" fmla="*/ 48 h 627"/>
                <a:gd name="T76" fmla="*/ 197 w 600"/>
                <a:gd name="T77" fmla="*/ 30 h 627"/>
                <a:gd name="T78" fmla="*/ 220 w 600"/>
                <a:gd name="T79" fmla="*/ 34 h 627"/>
                <a:gd name="T80" fmla="*/ 233 w 600"/>
                <a:gd name="T81" fmla="*/ 24 h 627"/>
                <a:gd name="T82" fmla="*/ 270 w 600"/>
                <a:gd name="T83" fmla="*/ 7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00" h="627">
                  <a:moveTo>
                    <a:pt x="243" y="198"/>
                  </a:moveTo>
                  <a:lnTo>
                    <a:pt x="236" y="205"/>
                  </a:lnTo>
                  <a:lnTo>
                    <a:pt x="225" y="214"/>
                  </a:lnTo>
                  <a:lnTo>
                    <a:pt x="209" y="224"/>
                  </a:lnTo>
                  <a:lnTo>
                    <a:pt x="189" y="233"/>
                  </a:lnTo>
                  <a:lnTo>
                    <a:pt x="168" y="244"/>
                  </a:lnTo>
                  <a:lnTo>
                    <a:pt x="145" y="253"/>
                  </a:lnTo>
                  <a:lnTo>
                    <a:pt x="122" y="264"/>
                  </a:lnTo>
                  <a:lnTo>
                    <a:pt x="99" y="272"/>
                  </a:lnTo>
                  <a:lnTo>
                    <a:pt x="78" y="280"/>
                  </a:lnTo>
                  <a:lnTo>
                    <a:pt x="58" y="288"/>
                  </a:lnTo>
                  <a:lnTo>
                    <a:pt x="58" y="307"/>
                  </a:lnTo>
                  <a:lnTo>
                    <a:pt x="60" y="340"/>
                  </a:lnTo>
                  <a:lnTo>
                    <a:pt x="67" y="374"/>
                  </a:lnTo>
                  <a:lnTo>
                    <a:pt x="76" y="407"/>
                  </a:lnTo>
                  <a:lnTo>
                    <a:pt x="91" y="439"/>
                  </a:lnTo>
                  <a:lnTo>
                    <a:pt x="108" y="470"/>
                  </a:lnTo>
                  <a:lnTo>
                    <a:pt x="128" y="498"/>
                  </a:lnTo>
                  <a:lnTo>
                    <a:pt x="152" y="524"/>
                  </a:lnTo>
                  <a:lnTo>
                    <a:pt x="178" y="546"/>
                  </a:lnTo>
                  <a:lnTo>
                    <a:pt x="206" y="564"/>
                  </a:lnTo>
                  <a:lnTo>
                    <a:pt x="237" y="578"/>
                  </a:lnTo>
                  <a:lnTo>
                    <a:pt x="270" y="586"/>
                  </a:lnTo>
                  <a:lnTo>
                    <a:pt x="304" y="590"/>
                  </a:lnTo>
                  <a:lnTo>
                    <a:pt x="339" y="586"/>
                  </a:lnTo>
                  <a:lnTo>
                    <a:pt x="373" y="578"/>
                  </a:lnTo>
                  <a:lnTo>
                    <a:pt x="404" y="563"/>
                  </a:lnTo>
                  <a:lnTo>
                    <a:pt x="432" y="546"/>
                  </a:lnTo>
                  <a:lnTo>
                    <a:pt x="460" y="522"/>
                  </a:lnTo>
                  <a:lnTo>
                    <a:pt x="484" y="497"/>
                  </a:lnTo>
                  <a:lnTo>
                    <a:pt x="505" y="468"/>
                  </a:lnTo>
                  <a:lnTo>
                    <a:pt x="522" y="438"/>
                  </a:lnTo>
                  <a:lnTo>
                    <a:pt x="537" y="406"/>
                  </a:lnTo>
                  <a:lnTo>
                    <a:pt x="548" y="373"/>
                  </a:lnTo>
                  <a:lnTo>
                    <a:pt x="554" y="339"/>
                  </a:lnTo>
                  <a:lnTo>
                    <a:pt x="556" y="307"/>
                  </a:lnTo>
                  <a:lnTo>
                    <a:pt x="556" y="298"/>
                  </a:lnTo>
                  <a:lnTo>
                    <a:pt x="555" y="291"/>
                  </a:lnTo>
                  <a:lnTo>
                    <a:pt x="531" y="288"/>
                  </a:lnTo>
                  <a:lnTo>
                    <a:pt x="502" y="284"/>
                  </a:lnTo>
                  <a:lnTo>
                    <a:pt x="472" y="278"/>
                  </a:lnTo>
                  <a:lnTo>
                    <a:pt x="439" y="272"/>
                  </a:lnTo>
                  <a:lnTo>
                    <a:pt x="405" y="265"/>
                  </a:lnTo>
                  <a:lnTo>
                    <a:pt x="372" y="256"/>
                  </a:lnTo>
                  <a:lnTo>
                    <a:pt x="339" y="247"/>
                  </a:lnTo>
                  <a:lnTo>
                    <a:pt x="309" y="236"/>
                  </a:lnTo>
                  <a:lnTo>
                    <a:pt x="282" y="225"/>
                  </a:lnTo>
                  <a:lnTo>
                    <a:pt x="259" y="211"/>
                  </a:lnTo>
                  <a:lnTo>
                    <a:pt x="243" y="198"/>
                  </a:lnTo>
                  <a:close/>
                  <a:moveTo>
                    <a:pt x="332" y="0"/>
                  </a:moveTo>
                  <a:lnTo>
                    <a:pt x="366" y="2"/>
                  </a:lnTo>
                  <a:lnTo>
                    <a:pt x="403" y="7"/>
                  </a:lnTo>
                  <a:lnTo>
                    <a:pt x="442" y="18"/>
                  </a:lnTo>
                  <a:lnTo>
                    <a:pt x="482" y="32"/>
                  </a:lnTo>
                  <a:lnTo>
                    <a:pt x="506" y="46"/>
                  </a:lnTo>
                  <a:lnTo>
                    <a:pt x="527" y="62"/>
                  </a:lnTo>
                  <a:lnTo>
                    <a:pt x="544" y="80"/>
                  </a:lnTo>
                  <a:lnTo>
                    <a:pt x="558" y="101"/>
                  </a:lnTo>
                  <a:lnTo>
                    <a:pt x="570" y="125"/>
                  </a:lnTo>
                  <a:lnTo>
                    <a:pt x="578" y="152"/>
                  </a:lnTo>
                  <a:lnTo>
                    <a:pt x="584" y="180"/>
                  </a:lnTo>
                  <a:lnTo>
                    <a:pt x="588" y="210"/>
                  </a:lnTo>
                  <a:lnTo>
                    <a:pt x="592" y="243"/>
                  </a:lnTo>
                  <a:lnTo>
                    <a:pt x="593" y="276"/>
                  </a:lnTo>
                  <a:lnTo>
                    <a:pt x="594" y="280"/>
                  </a:lnTo>
                  <a:lnTo>
                    <a:pt x="594" y="285"/>
                  </a:lnTo>
                  <a:lnTo>
                    <a:pt x="596" y="286"/>
                  </a:lnTo>
                  <a:lnTo>
                    <a:pt x="598" y="288"/>
                  </a:lnTo>
                  <a:lnTo>
                    <a:pt x="600" y="290"/>
                  </a:lnTo>
                  <a:lnTo>
                    <a:pt x="581" y="322"/>
                  </a:lnTo>
                  <a:lnTo>
                    <a:pt x="566" y="358"/>
                  </a:lnTo>
                  <a:lnTo>
                    <a:pt x="556" y="395"/>
                  </a:lnTo>
                  <a:lnTo>
                    <a:pt x="551" y="431"/>
                  </a:lnTo>
                  <a:lnTo>
                    <a:pt x="549" y="469"/>
                  </a:lnTo>
                  <a:lnTo>
                    <a:pt x="529" y="502"/>
                  </a:lnTo>
                  <a:lnTo>
                    <a:pt x="505" y="532"/>
                  </a:lnTo>
                  <a:lnTo>
                    <a:pt x="477" y="559"/>
                  </a:lnTo>
                  <a:lnTo>
                    <a:pt x="447" y="582"/>
                  </a:lnTo>
                  <a:lnTo>
                    <a:pt x="414" y="601"/>
                  </a:lnTo>
                  <a:lnTo>
                    <a:pt x="380" y="616"/>
                  </a:lnTo>
                  <a:lnTo>
                    <a:pt x="343" y="624"/>
                  </a:lnTo>
                  <a:lnTo>
                    <a:pt x="304" y="627"/>
                  </a:lnTo>
                  <a:lnTo>
                    <a:pt x="269" y="625"/>
                  </a:lnTo>
                  <a:lnTo>
                    <a:pt x="234" y="617"/>
                  </a:lnTo>
                  <a:lnTo>
                    <a:pt x="202" y="604"/>
                  </a:lnTo>
                  <a:lnTo>
                    <a:pt x="170" y="586"/>
                  </a:lnTo>
                  <a:lnTo>
                    <a:pt x="142" y="565"/>
                  </a:lnTo>
                  <a:lnTo>
                    <a:pt x="117" y="541"/>
                  </a:lnTo>
                  <a:lnTo>
                    <a:pt x="93" y="514"/>
                  </a:lnTo>
                  <a:lnTo>
                    <a:pt x="73" y="485"/>
                  </a:lnTo>
                  <a:lnTo>
                    <a:pt x="55" y="453"/>
                  </a:lnTo>
                  <a:lnTo>
                    <a:pt x="41" y="420"/>
                  </a:lnTo>
                  <a:lnTo>
                    <a:pt x="30" y="386"/>
                  </a:lnTo>
                  <a:lnTo>
                    <a:pt x="21" y="384"/>
                  </a:lnTo>
                  <a:lnTo>
                    <a:pt x="12" y="379"/>
                  </a:lnTo>
                  <a:lnTo>
                    <a:pt x="7" y="371"/>
                  </a:lnTo>
                  <a:lnTo>
                    <a:pt x="4" y="361"/>
                  </a:lnTo>
                  <a:lnTo>
                    <a:pt x="0" y="312"/>
                  </a:lnTo>
                  <a:lnTo>
                    <a:pt x="1" y="301"/>
                  </a:lnTo>
                  <a:lnTo>
                    <a:pt x="5" y="293"/>
                  </a:lnTo>
                  <a:lnTo>
                    <a:pt x="12" y="287"/>
                  </a:lnTo>
                  <a:lnTo>
                    <a:pt x="21" y="283"/>
                  </a:lnTo>
                  <a:lnTo>
                    <a:pt x="22" y="278"/>
                  </a:lnTo>
                  <a:lnTo>
                    <a:pt x="22" y="274"/>
                  </a:lnTo>
                  <a:lnTo>
                    <a:pt x="21" y="249"/>
                  </a:lnTo>
                  <a:lnTo>
                    <a:pt x="22" y="224"/>
                  </a:lnTo>
                  <a:lnTo>
                    <a:pt x="25" y="198"/>
                  </a:lnTo>
                  <a:lnTo>
                    <a:pt x="31" y="172"/>
                  </a:lnTo>
                  <a:lnTo>
                    <a:pt x="41" y="146"/>
                  </a:lnTo>
                  <a:lnTo>
                    <a:pt x="52" y="123"/>
                  </a:lnTo>
                  <a:lnTo>
                    <a:pt x="67" y="100"/>
                  </a:lnTo>
                  <a:lnTo>
                    <a:pt x="85" y="80"/>
                  </a:lnTo>
                  <a:lnTo>
                    <a:pt x="105" y="63"/>
                  </a:lnTo>
                  <a:lnTo>
                    <a:pt x="131" y="48"/>
                  </a:lnTo>
                  <a:lnTo>
                    <a:pt x="159" y="37"/>
                  </a:lnTo>
                  <a:lnTo>
                    <a:pt x="190" y="30"/>
                  </a:lnTo>
                  <a:lnTo>
                    <a:pt x="197" y="30"/>
                  </a:lnTo>
                  <a:lnTo>
                    <a:pt x="204" y="31"/>
                  </a:lnTo>
                  <a:lnTo>
                    <a:pt x="212" y="33"/>
                  </a:lnTo>
                  <a:lnTo>
                    <a:pt x="220" y="34"/>
                  </a:lnTo>
                  <a:lnTo>
                    <a:pt x="224" y="33"/>
                  </a:lnTo>
                  <a:lnTo>
                    <a:pt x="228" y="30"/>
                  </a:lnTo>
                  <a:lnTo>
                    <a:pt x="233" y="24"/>
                  </a:lnTo>
                  <a:lnTo>
                    <a:pt x="238" y="19"/>
                  </a:lnTo>
                  <a:lnTo>
                    <a:pt x="242" y="15"/>
                  </a:lnTo>
                  <a:lnTo>
                    <a:pt x="270" y="7"/>
                  </a:lnTo>
                  <a:lnTo>
                    <a:pt x="299" y="2"/>
                  </a:lnTo>
                  <a:lnTo>
                    <a:pt x="33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50"/>
            <p:cNvSpPr>
              <a:spLocks noEditPoints="1"/>
            </p:cNvSpPr>
            <p:nvPr/>
          </p:nvSpPr>
          <p:spPr bwMode="auto">
            <a:xfrm>
              <a:off x="20" y="1924"/>
              <a:ext cx="31" cy="32"/>
            </a:xfrm>
            <a:custGeom>
              <a:avLst/>
              <a:gdLst>
                <a:gd name="T0" fmla="*/ 142 w 372"/>
                <a:gd name="T1" fmla="*/ 126 h 382"/>
                <a:gd name="T2" fmla="*/ 118 w 372"/>
                <a:gd name="T3" fmla="*/ 141 h 382"/>
                <a:gd name="T4" fmla="*/ 84 w 372"/>
                <a:gd name="T5" fmla="*/ 156 h 382"/>
                <a:gd name="T6" fmla="*/ 51 w 372"/>
                <a:gd name="T7" fmla="*/ 170 h 382"/>
                <a:gd name="T8" fmla="*/ 35 w 372"/>
                <a:gd name="T9" fmla="*/ 181 h 382"/>
                <a:gd name="T10" fmla="*/ 37 w 372"/>
                <a:gd name="T11" fmla="*/ 214 h 382"/>
                <a:gd name="T12" fmla="*/ 55 w 372"/>
                <a:gd name="T13" fmla="*/ 268 h 382"/>
                <a:gd name="T14" fmla="*/ 88 w 372"/>
                <a:gd name="T15" fmla="*/ 314 h 382"/>
                <a:gd name="T16" fmla="*/ 132 w 372"/>
                <a:gd name="T17" fmla="*/ 346 h 382"/>
                <a:gd name="T18" fmla="*/ 185 w 372"/>
                <a:gd name="T19" fmla="*/ 359 h 382"/>
                <a:gd name="T20" fmla="*/ 239 w 372"/>
                <a:gd name="T21" fmla="*/ 346 h 382"/>
                <a:gd name="T22" fmla="*/ 284 w 372"/>
                <a:gd name="T23" fmla="*/ 313 h 382"/>
                <a:gd name="T24" fmla="*/ 318 w 372"/>
                <a:gd name="T25" fmla="*/ 267 h 382"/>
                <a:gd name="T26" fmla="*/ 336 w 372"/>
                <a:gd name="T27" fmla="*/ 213 h 382"/>
                <a:gd name="T28" fmla="*/ 338 w 372"/>
                <a:gd name="T29" fmla="*/ 182 h 382"/>
                <a:gd name="T30" fmla="*/ 319 w 372"/>
                <a:gd name="T31" fmla="*/ 174 h 382"/>
                <a:gd name="T32" fmla="*/ 274 w 372"/>
                <a:gd name="T33" fmla="*/ 167 h 382"/>
                <a:gd name="T34" fmla="*/ 224 w 372"/>
                <a:gd name="T35" fmla="*/ 156 h 382"/>
                <a:gd name="T36" fmla="*/ 179 w 372"/>
                <a:gd name="T37" fmla="*/ 140 h 382"/>
                <a:gd name="T38" fmla="*/ 147 w 372"/>
                <a:gd name="T39" fmla="*/ 120 h 382"/>
                <a:gd name="T40" fmla="*/ 227 w 372"/>
                <a:gd name="T41" fmla="*/ 2 h 382"/>
                <a:gd name="T42" fmla="*/ 292 w 372"/>
                <a:gd name="T43" fmla="*/ 19 h 382"/>
                <a:gd name="T44" fmla="*/ 325 w 372"/>
                <a:gd name="T45" fmla="*/ 44 h 382"/>
                <a:gd name="T46" fmla="*/ 346 w 372"/>
                <a:gd name="T47" fmla="*/ 77 h 382"/>
                <a:gd name="T48" fmla="*/ 357 w 372"/>
                <a:gd name="T49" fmla="*/ 119 h 382"/>
                <a:gd name="T50" fmla="*/ 360 w 372"/>
                <a:gd name="T51" fmla="*/ 168 h 382"/>
                <a:gd name="T52" fmla="*/ 361 w 372"/>
                <a:gd name="T53" fmla="*/ 173 h 382"/>
                <a:gd name="T54" fmla="*/ 371 w 372"/>
                <a:gd name="T55" fmla="*/ 183 h 382"/>
                <a:gd name="T56" fmla="*/ 369 w 372"/>
                <a:gd name="T57" fmla="*/ 221 h 382"/>
                <a:gd name="T58" fmla="*/ 366 w 372"/>
                <a:gd name="T59" fmla="*/ 229 h 382"/>
                <a:gd name="T60" fmla="*/ 359 w 372"/>
                <a:gd name="T61" fmla="*/ 234 h 382"/>
                <a:gd name="T62" fmla="*/ 345 w 372"/>
                <a:gd name="T63" fmla="*/ 264 h 382"/>
                <a:gd name="T64" fmla="*/ 314 w 372"/>
                <a:gd name="T65" fmla="*/ 316 h 382"/>
                <a:gd name="T66" fmla="*/ 270 w 372"/>
                <a:gd name="T67" fmla="*/ 356 h 382"/>
                <a:gd name="T68" fmla="*/ 215 w 372"/>
                <a:gd name="T69" fmla="*/ 379 h 382"/>
                <a:gd name="T70" fmla="*/ 155 w 372"/>
                <a:gd name="T71" fmla="*/ 379 h 382"/>
                <a:gd name="T72" fmla="*/ 101 w 372"/>
                <a:gd name="T73" fmla="*/ 356 h 382"/>
                <a:gd name="T74" fmla="*/ 58 w 372"/>
                <a:gd name="T75" fmla="*/ 315 h 382"/>
                <a:gd name="T76" fmla="*/ 28 w 372"/>
                <a:gd name="T77" fmla="*/ 264 h 382"/>
                <a:gd name="T78" fmla="*/ 13 w 372"/>
                <a:gd name="T79" fmla="*/ 234 h 382"/>
                <a:gd name="T80" fmla="*/ 6 w 372"/>
                <a:gd name="T81" fmla="*/ 229 h 382"/>
                <a:gd name="T82" fmla="*/ 3 w 372"/>
                <a:gd name="T83" fmla="*/ 221 h 382"/>
                <a:gd name="T84" fmla="*/ 1 w 372"/>
                <a:gd name="T85" fmla="*/ 182 h 382"/>
                <a:gd name="T86" fmla="*/ 12 w 372"/>
                <a:gd name="T87" fmla="*/ 172 h 382"/>
                <a:gd name="T88" fmla="*/ 13 w 372"/>
                <a:gd name="T89" fmla="*/ 167 h 382"/>
                <a:gd name="T90" fmla="*/ 13 w 372"/>
                <a:gd name="T91" fmla="*/ 129 h 382"/>
                <a:gd name="T92" fmla="*/ 23 w 372"/>
                <a:gd name="T93" fmla="*/ 93 h 382"/>
                <a:gd name="T94" fmla="*/ 42 w 372"/>
                <a:gd name="T95" fmla="*/ 59 h 382"/>
                <a:gd name="T96" fmla="*/ 73 w 372"/>
                <a:gd name="T97" fmla="*/ 33 h 382"/>
                <a:gd name="T98" fmla="*/ 115 w 372"/>
                <a:gd name="T99" fmla="*/ 19 h 382"/>
                <a:gd name="T100" fmla="*/ 126 w 372"/>
                <a:gd name="T101" fmla="*/ 19 h 382"/>
                <a:gd name="T102" fmla="*/ 136 w 372"/>
                <a:gd name="T103" fmla="*/ 20 h 382"/>
                <a:gd name="T104" fmla="*/ 139 w 372"/>
                <a:gd name="T105" fmla="*/ 17 h 382"/>
                <a:gd name="T106" fmla="*/ 143 w 372"/>
                <a:gd name="T107" fmla="*/ 13 h 382"/>
                <a:gd name="T108" fmla="*/ 147 w 372"/>
                <a:gd name="T109" fmla="*/ 10 h 382"/>
                <a:gd name="T110" fmla="*/ 198 w 372"/>
                <a:gd name="T111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2" h="382">
                  <a:moveTo>
                    <a:pt x="147" y="120"/>
                  </a:moveTo>
                  <a:lnTo>
                    <a:pt x="142" y="126"/>
                  </a:lnTo>
                  <a:lnTo>
                    <a:pt x="132" y="134"/>
                  </a:lnTo>
                  <a:lnTo>
                    <a:pt x="118" y="141"/>
                  </a:lnTo>
                  <a:lnTo>
                    <a:pt x="102" y="148"/>
                  </a:lnTo>
                  <a:lnTo>
                    <a:pt x="84" y="156"/>
                  </a:lnTo>
                  <a:lnTo>
                    <a:pt x="68" y="163"/>
                  </a:lnTo>
                  <a:lnTo>
                    <a:pt x="51" y="170"/>
                  </a:lnTo>
                  <a:lnTo>
                    <a:pt x="35" y="176"/>
                  </a:lnTo>
                  <a:lnTo>
                    <a:pt x="35" y="181"/>
                  </a:lnTo>
                  <a:lnTo>
                    <a:pt x="35" y="187"/>
                  </a:lnTo>
                  <a:lnTo>
                    <a:pt x="37" y="214"/>
                  </a:lnTo>
                  <a:lnTo>
                    <a:pt x="44" y="242"/>
                  </a:lnTo>
                  <a:lnTo>
                    <a:pt x="55" y="268"/>
                  </a:lnTo>
                  <a:lnTo>
                    <a:pt x="70" y="292"/>
                  </a:lnTo>
                  <a:lnTo>
                    <a:pt x="88" y="314"/>
                  </a:lnTo>
                  <a:lnTo>
                    <a:pt x="107" y="333"/>
                  </a:lnTo>
                  <a:lnTo>
                    <a:pt x="132" y="346"/>
                  </a:lnTo>
                  <a:lnTo>
                    <a:pt x="158" y="356"/>
                  </a:lnTo>
                  <a:lnTo>
                    <a:pt x="185" y="359"/>
                  </a:lnTo>
                  <a:lnTo>
                    <a:pt x="213" y="356"/>
                  </a:lnTo>
                  <a:lnTo>
                    <a:pt x="239" y="346"/>
                  </a:lnTo>
                  <a:lnTo>
                    <a:pt x="264" y="332"/>
                  </a:lnTo>
                  <a:lnTo>
                    <a:pt x="284" y="313"/>
                  </a:lnTo>
                  <a:lnTo>
                    <a:pt x="302" y="291"/>
                  </a:lnTo>
                  <a:lnTo>
                    <a:pt x="318" y="267"/>
                  </a:lnTo>
                  <a:lnTo>
                    <a:pt x="328" y="240"/>
                  </a:lnTo>
                  <a:lnTo>
                    <a:pt x="336" y="213"/>
                  </a:lnTo>
                  <a:lnTo>
                    <a:pt x="338" y="187"/>
                  </a:lnTo>
                  <a:lnTo>
                    <a:pt x="338" y="182"/>
                  </a:lnTo>
                  <a:lnTo>
                    <a:pt x="338" y="178"/>
                  </a:lnTo>
                  <a:lnTo>
                    <a:pt x="319" y="174"/>
                  </a:lnTo>
                  <a:lnTo>
                    <a:pt x="298" y="171"/>
                  </a:lnTo>
                  <a:lnTo>
                    <a:pt x="274" y="167"/>
                  </a:lnTo>
                  <a:lnTo>
                    <a:pt x="249" y="162"/>
                  </a:lnTo>
                  <a:lnTo>
                    <a:pt x="224" y="156"/>
                  </a:lnTo>
                  <a:lnTo>
                    <a:pt x="200" y="148"/>
                  </a:lnTo>
                  <a:lnTo>
                    <a:pt x="179" y="140"/>
                  </a:lnTo>
                  <a:lnTo>
                    <a:pt x="161" y="130"/>
                  </a:lnTo>
                  <a:lnTo>
                    <a:pt x="147" y="120"/>
                  </a:lnTo>
                  <a:close/>
                  <a:moveTo>
                    <a:pt x="198" y="0"/>
                  </a:moveTo>
                  <a:lnTo>
                    <a:pt x="227" y="2"/>
                  </a:lnTo>
                  <a:lnTo>
                    <a:pt x="258" y="8"/>
                  </a:lnTo>
                  <a:lnTo>
                    <a:pt x="292" y="19"/>
                  </a:lnTo>
                  <a:lnTo>
                    <a:pt x="311" y="30"/>
                  </a:lnTo>
                  <a:lnTo>
                    <a:pt x="325" y="44"/>
                  </a:lnTo>
                  <a:lnTo>
                    <a:pt x="337" y="58"/>
                  </a:lnTo>
                  <a:lnTo>
                    <a:pt x="346" y="77"/>
                  </a:lnTo>
                  <a:lnTo>
                    <a:pt x="353" y="97"/>
                  </a:lnTo>
                  <a:lnTo>
                    <a:pt x="357" y="119"/>
                  </a:lnTo>
                  <a:lnTo>
                    <a:pt x="359" y="143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3"/>
                  </a:lnTo>
                  <a:lnTo>
                    <a:pt x="367" y="178"/>
                  </a:lnTo>
                  <a:lnTo>
                    <a:pt x="371" y="183"/>
                  </a:lnTo>
                  <a:lnTo>
                    <a:pt x="372" y="190"/>
                  </a:lnTo>
                  <a:lnTo>
                    <a:pt x="369" y="221"/>
                  </a:lnTo>
                  <a:lnTo>
                    <a:pt x="368" y="225"/>
                  </a:lnTo>
                  <a:lnTo>
                    <a:pt x="366" y="229"/>
                  </a:lnTo>
                  <a:lnTo>
                    <a:pt x="363" y="232"/>
                  </a:lnTo>
                  <a:lnTo>
                    <a:pt x="359" y="234"/>
                  </a:lnTo>
                  <a:lnTo>
                    <a:pt x="355" y="235"/>
                  </a:lnTo>
                  <a:lnTo>
                    <a:pt x="345" y="264"/>
                  </a:lnTo>
                  <a:lnTo>
                    <a:pt x="331" y="291"/>
                  </a:lnTo>
                  <a:lnTo>
                    <a:pt x="314" y="316"/>
                  </a:lnTo>
                  <a:lnTo>
                    <a:pt x="293" y="338"/>
                  </a:lnTo>
                  <a:lnTo>
                    <a:pt x="270" y="356"/>
                  </a:lnTo>
                  <a:lnTo>
                    <a:pt x="244" y="370"/>
                  </a:lnTo>
                  <a:lnTo>
                    <a:pt x="215" y="379"/>
                  </a:lnTo>
                  <a:lnTo>
                    <a:pt x="185" y="382"/>
                  </a:lnTo>
                  <a:lnTo>
                    <a:pt x="155" y="379"/>
                  </a:lnTo>
                  <a:lnTo>
                    <a:pt x="127" y="370"/>
                  </a:lnTo>
                  <a:lnTo>
                    <a:pt x="101" y="356"/>
                  </a:lnTo>
                  <a:lnTo>
                    <a:pt x="78" y="337"/>
                  </a:lnTo>
                  <a:lnTo>
                    <a:pt x="58" y="315"/>
                  </a:lnTo>
                  <a:lnTo>
                    <a:pt x="41" y="291"/>
                  </a:lnTo>
                  <a:lnTo>
                    <a:pt x="28" y="264"/>
                  </a:lnTo>
                  <a:lnTo>
                    <a:pt x="18" y="235"/>
                  </a:lnTo>
                  <a:lnTo>
                    <a:pt x="13" y="234"/>
                  </a:lnTo>
                  <a:lnTo>
                    <a:pt x="9" y="232"/>
                  </a:lnTo>
                  <a:lnTo>
                    <a:pt x="6" y="229"/>
                  </a:lnTo>
                  <a:lnTo>
                    <a:pt x="4" y="225"/>
                  </a:lnTo>
                  <a:lnTo>
                    <a:pt x="3" y="221"/>
                  </a:lnTo>
                  <a:lnTo>
                    <a:pt x="0" y="190"/>
                  </a:lnTo>
                  <a:lnTo>
                    <a:pt x="1" y="182"/>
                  </a:lnTo>
                  <a:lnTo>
                    <a:pt x="6" y="176"/>
                  </a:lnTo>
                  <a:lnTo>
                    <a:pt x="12" y="172"/>
                  </a:lnTo>
                  <a:lnTo>
                    <a:pt x="12" y="170"/>
                  </a:lnTo>
                  <a:lnTo>
                    <a:pt x="13" y="167"/>
                  </a:lnTo>
                  <a:lnTo>
                    <a:pt x="12" y="149"/>
                  </a:lnTo>
                  <a:lnTo>
                    <a:pt x="13" y="129"/>
                  </a:lnTo>
                  <a:lnTo>
                    <a:pt x="17" y="111"/>
                  </a:lnTo>
                  <a:lnTo>
                    <a:pt x="23" y="93"/>
                  </a:lnTo>
                  <a:lnTo>
                    <a:pt x="31" y="75"/>
                  </a:lnTo>
                  <a:lnTo>
                    <a:pt x="42" y="59"/>
                  </a:lnTo>
                  <a:lnTo>
                    <a:pt x="56" y="45"/>
                  </a:lnTo>
                  <a:lnTo>
                    <a:pt x="73" y="33"/>
                  </a:lnTo>
                  <a:lnTo>
                    <a:pt x="93" y="25"/>
                  </a:lnTo>
                  <a:lnTo>
                    <a:pt x="115" y="19"/>
                  </a:lnTo>
                  <a:lnTo>
                    <a:pt x="120" y="19"/>
                  </a:lnTo>
                  <a:lnTo>
                    <a:pt x="126" y="19"/>
                  </a:lnTo>
                  <a:lnTo>
                    <a:pt x="133" y="20"/>
                  </a:lnTo>
                  <a:lnTo>
                    <a:pt x="136" y="20"/>
                  </a:lnTo>
                  <a:lnTo>
                    <a:pt x="137" y="19"/>
                  </a:lnTo>
                  <a:lnTo>
                    <a:pt x="139" y="17"/>
                  </a:lnTo>
                  <a:lnTo>
                    <a:pt x="141" y="15"/>
                  </a:lnTo>
                  <a:lnTo>
                    <a:pt x="143" y="13"/>
                  </a:lnTo>
                  <a:lnTo>
                    <a:pt x="145" y="11"/>
                  </a:lnTo>
                  <a:lnTo>
                    <a:pt x="147" y="10"/>
                  </a:lnTo>
                  <a:lnTo>
                    <a:pt x="171" y="3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51"/>
            <p:cNvSpPr>
              <a:spLocks noEditPoints="1"/>
            </p:cNvSpPr>
            <p:nvPr/>
          </p:nvSpPr>
          <p:spPr bwMode="auto">
            <a:xfrm>
              <a:off x="-23" y="1941"/>
              <a:ext cx="43" cy="44"/>
            </a:xfrm>
            <a:custGeom>
              <a:avLst/>
              <a:gdLst>
                <a:gd name="T0" fmla="*/ 200 w 518"/>
                <a:gd name="T1" fmla="*/ 174 h 530"/>
                <a:gd name="T2" fmla="*/ 172 w 518"/>
                <a:gd name="T3" fmla="*/ 192 h 530"/>
                <a:gd name="T4" fmla="*/ 132 w 518"/>
                <a:gd name="T5" fmla="*/ 210 h 530"/>
                <a:gd name="T6" fmla="*/ 89 w 518"/>
                <a:gd name="T7" fmla="*/ 228 h 530"/>
                <a:gd name="T8" fmla="*/ 51 w 518"/>
                <a:gd name="T9" fmla="*/ 243 h 530"/>
                <a:gd name="T10" fmla="*/ 50 w 518"/>
                <a:gd name="T11" fmla="*/ 259 h 530"/>
                <a:gd name="T12" fmla="*/ 59 w 518"/>
                <a:gd name="T13" fmla="*/ 320 h 530"/>
                <a:gd name="T14" fmla="*/ 83 w 518"/>
                <a:gd name="T15" fmla="*/ 380 h 530"/>
                <a:gd name="T16" fmla="*/ 120 w 518"/>
                <a:gd name="T17" fmla="*/ 432 h 530"/>
                <a:gd name="T18" fmla="*/ 169 w 518"/>
                <a:gd name="T19" fmla="*/ 472 h 530"/>
                <a:gd name="T20" fmla="*/ 226 w 518"/>
                <a:gd name="T21" fmla="*/ 494 h 530"/>
                <a:gd name="T22" fmla="*/ 290 w 518"/>
                <a:gd name="T23" fmla="*/ 494 h 530"/>
                <a:gd name="T24" fmla="*/ 349 w 518"/>
                <a:gd name="T25" fmla="*/ 472 h 530"/>
                <a:gd name="T26" fmla="*/ 398 w 518"/>
                <a:gd name="T27" fmla="*/ 431 h 530"/>
                <a:gd name="T28" fmla="*/ 437 w 518"/>
                <a:gd name="T29" fmla="*/ 379 h 530"/>
                <a:gd name="T30" fmla="*/ 462 w 518"/>
                <a:gd name="T31" fmla="*/ 319 h 530"/>
                <a:gd name="T32" fmla="*/ 470 w 518"/>
                <a:gd name="T33" fmla="*/ 259 h 530"/>
                <a:gd name="T34" fmla="*/ 469 w 518"/>
                <a:gd name="T35" fmla="*/ 246 h 530"/>
                <a:gd name="T36" fmla="*/ 421 w 518"/>
                <a:gd name="T37" fmla="*/ 239 h 530"/>
                <a:gd name="T38" fmla="*/ 360 w 518"/>
                <a:gd name="T39" fmla="*/ 227 h 530"/>
                <a:gd name="T40" fmla="*/ 299 w 518"/>
                <a:gd name="T41" fmla="*/ 211 h 530"/>
                <a:gd name="T42" fmla="*/ 244 w 518"/>
                <a:gd name="T43" fmla="*/ 192 h 530"/>
                <a:gd name="T44" fmla="*/ 206 w 518"/>
                <a:gd name="T45" fmla="*/ 166 h 530"/>
                <a:gd name="T46" fmla="*/ 331 w 518"/>
                <a:gd name="T47" fmla="*/ 4 h 530"/>
                <a:gd name="T48" fmla="*/ 408 w 518"/>
                <a:gd name="T49" fmla="*/ 27 h 530"/>
                <a:gd name="T50" fmla="*/ 450 w 518"/>
                <a:gd name="T51" fmla="*/ 54 h 530"/>
                <a:gd name="T52" fmla="*/ 477 w 518"/>
                <a:gd name="T53" fmla="*/ 94 h 530"/>
                <a:gd name="T54" fmla="*/ 494 w 518"/>
                <a:gd name="T55" fmla="*/ 143 h 530"/>
                <a:gd name="T56" fmla="*/ 501 w 518"/>
                <a:gd name="T57" fmla="*/ 201 h 530"/>
                <a:gd name="T58" fmla="*/ 502 w 518"/>
                <a:gd name="T59" fmla="*/ 237 h 530"/>
                <a:gd name="T60" fmla="*/ 511 w 518"/>
                <a:gd name="T61" fmla="*/ 245 h 530"/>
                <a:gd name="T62" fmla="*/ 518 w 518"/>
                <a:gd name="T63" fmla="*/ 264 h 530"/>
                <a:gd name="T64" fmla="*/ 511 w 518"/>
                <a:gd name="T65" fmla="*/ 316 h 530"/>
                <a:gd name="T66" fmla="*/ 494 w 518"/>
                <a:gd name="T67" fmla="*/ 327 h 530"/>
                <a:gd name="T68" fmla="*/ 469 w 518"/>
                <a:gd name="T69" fmla="*/ 388 h 530"/>
                <a:gd name="T70" fmla="*/ 432 w 518"/>
                <a:gd name="T71" fmla="*/ 444 h 530"/>
                <a:gd name="T72" fmla="*/ 382 w 518"/>
                <a:gd name="T73" fmla="*/ 489 h 530"/>
                <a:gd name="T74" fmla="*/ 325 w 518"/>
                <a:gd name="T75" fmla="*/ 519 h 530"/>
                <a:gd name="T76" fmla="*/ 259 w 518"/>
                <a:gd name="T77" fmla="*/ 530 h 530"/>
                <a:gd name="T78" fmla="*/ 193 w 518"/>
                <a:gd name="T79" fmla="*/ 519 h 530"/>
                <a:gd name="T80" fmla="*/ 135 w 518"/>
                <a:gd name="T81" fmla="*/ 489 h 530"/>
                <a:gd name="T82" fmla="*/ 87 w 518"/>
                <a:gd name="T83" fmla="*/ 444 h 530"/>
                <a:gd name="T84" fmla="*/ 50 w 518"/>
                <a:gd name="T85" fmla="*/ 387 h 530"/>
                <a:gd name="T86" fmla="*/ 26 w 518"/>
                <a:gd name="T87" fmla="*/ 326 h 530"/>
                <a:gd name="T88" fmla="*/ 8 w 518"/>
                <a:gd name="T89" fmla="*/ 315 h 530"/>
                <a:gd name="T90" fmla="*/ 0 w 518"/>
                <a:gd name="T91" fmla="*/ 263 h 530"/>
                <a:gd name="T92" fmla="*/ 8 w 518"/>
                <a:gd name="T93" fmla="*/ 244 h 530"/>
                <a:gd name="T94" fmla="*/ 19 w 518"/>
                <a:gd name="T95" fmla="*/ 235 h 530"/>
                <a:gd name="T96" fmla="*/ 18 w 518"/>
                <a:gd name="T97" fmla="*/ 208 h 530"/>
                <a:gd name="T98" fmla="*/ 23 w 518"/>
                <a:gd name="T99" fmla="*/ 161 h 530"/>
                <a:gd name="T100" fmla="*/ 39 w 518"/>
                <a:gd name="T101" fmla="*/ 114 h 530"/>
                <a:gd name="T102" fmla="*/ 66 w 518"/>
                <a:gd name="T103" fmla="*/ 73 h 530"/>
                <a:gd name="T104" fmla="*/ 107 w 518"/>
                <a:gd name="T105" fmla="*/ 43 h 530"/>
                <a:gd name="T106" fmla="*/ 161 w 518"/>
                <a:gd name="T107" fmla="*/ 25 h 530"/>
                <a:gd name="T108" fmla="*/ 173 w 518"/>
                <a:gd name="T109" fmla="*/ 26 h 530"/>
                <a:gd name="T110" fmla="*/ 187 w 518"/>
                <a:gd name="T111" fmla="*/ 28 h 530"/>
                <a:gd name="T112" fmla="*/ 192 w 518"/>
                <a:gd name="T113" fmla="*/ 26 h 530"/>
                <a:gd name="T114" fmla="*/ 196 w 518"/>
                <a:gd name="T115" fmla="*/ 21 h 530"/>
                <a:gd name="T116" fmla="*/ 201 w 518"/>
                <a:gd name="T117" fmla="*/ 16 h 530"/>
                <a:gd name="T118" fmla="*/ 205 w 518"/>
                <a:gd name="T119" fmla="*/ 12 h 530"/>
                <a:gd name="T120" fmla="*/ 263 w 518"/>
                <a:gd name="T121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530">
                  <a:moveTo>
                    <a:pt x="206" y="166"/>
                  </a:moveTo>
                  <a:lnTo>
                    <a:pt x="200" y="174"/>
                  </a:lnTo>
                  <a:lnTo>
                    <a:pt x="188" y="182"/>
                  </a:lnTo>
                  <a:lnTo>
                    <a:pt x="172" y="192"/>
                  </a:lnTo>
                  <a:lnTo>
                    <a:pt x="153" y="201"/>
                  </a:lnTo>
                  <a:lnTo>
                    <a:pt x="132" y="210"/>
                  </a:lnTo>
                  <a:lnTo>
                    <a:pt x="111" y="220"/>
                  </a:lnTo>
                  <a:lnTo>
                    <a:pt x="89" y="228"/>
                  </a:lnTo>
                  <a:lnTo>
                    <a:pt x="69" y="235"/>
                  </a:lnTo>
                  <a:lnTo>
                    <a:pt x="51" y="243"/>
                  </a:lnTo>
                  <a:lnTo>
                    <a:pt x="50" y="250"/>
                  </a:lnTo>
                  <a:lnTo>
                    <a:pt x="50" y="259"/>
                  </a:lnTo>
                  <a:lnTo>
                    <a:pt x="52" y="289"/>
                  </a:lnTo>
                  <a:lnTo>
                    <a:pt x="59" y="320"/>
                  </a:lnTo>
                  <a:lnTo>
                    <a:pt x="69" y="351"/>
                  </a:lnTo>
                  <a:lnTo>
                    <a:pt x="83" y="380"/>
                  </a:lnTo>
                  <a:lnTo>
                    <a:pt x="100" y="407"/>
                  </a:lnTo>
                  <a:lnTo>
                    <a:pt x="120" y="432"/>
                  </a:lnTo>
                  <a:lnTo>
                    <a:pt x="144" y="454"/>
                  </a:lnTo>
                  <a:lnTo>
                    <a:pt x="169" y="472"/>
                  </a:lnTo>
                  <a:lnTo>
                    <a:pt x="197" y="486"/>
                  </a:lnTo>
                  <a:lnTo>
                    <a:pt x="226" y="494"/>
                  </a:lnTo>
                  <a:lnTo>
                    <a:pt x="259" y="497"/>
                  </a:lnTo>
                  <a:lnTo>
                    <a:pt x="290" y="494"/>
                  </a:lnTo>
                  <a:lnTo>
                    <a:pt x="321" y="486"/>
                  </a:lnTo>
                  <a:lnTo>
                    <a:pt x="349" y="472"/>
                  </a:lnTo>
                  <a:lnTo>
                    <a:pt x="375" y="453"/>
                  </a:lnTo>
                  <a:lnTo>
                    <a:pt x="398" y="431"/>
                  </a:lnTo>
                  <a:lnTo>
                    <a:pt x="419" y="406"/>
                  </a:lnTo>
                  <a:lnTo>
                    <a:pt x="437" y="379"/>
                  </a:lnTo>
                  <a:lnTo>
                    <a:pt x="452" y="350"/>
                  </a:lnTo>
                  <a:lnTo>
                    <a:pt x="462" y="319"/>
                  </a:lnTo>
                  <a:lnTo>
                    <a:pt x="468" y="289"/>
                  </a:lnTo>
                  <a:lnTo>
                    <a:pt x="470" y="259"/>
                  </a:lnTo>
                  <a:lnTo>
                    <a:pt x="470" y="252"/>
                  </a:lnTo>
                  <a:lnTo>
                    <a:pt x="469" y="246"/>
                  </a:lnTo>
                  <a:lnTo>
                    <a:pt x="447" y="243"/>
                  </a:lnTo>
                  <a:lnTo>
                    <a:pt x="421" y="239"/>
                  </a:lnTo>
                  <a:lnTo>
                    <a:pt x="392" y="233"/>
                  </a:lnTo>
                  <a:lnTo>
                    <a:pt x="360" y="227"/>
                  </a:lnTo>
                  <a:lnTo>
                    <a:pt x="329" y="220"/>
                  </a:lnTo>
                  <a:lnTo>
                    <a:pt x="299" y="211"/>
                  </a:lnTo>
                  <a:lnTo>
                    <a:pt x="269" y="202"/>
                  </a:lnTo>
                  <a:lnTo>
                    <a:pt x="244" y="192"/>
                  </a:lnTo>
                  <a:lnTo>
                    <a:pt x="222" y="179"/>
                  </a:lnTo>
                  <a:lnTo>
                    <a:pt x="206" y="166"/>
                  </a:lnTo>
                  <a:close/>
                  <a:moveTo>
                    <a:pt x="296" y="0"/>
                  </a:moveTo>
                  <a:lnTo>
                    <a:pt x="331" y="4"/>
                  </a:lnTo>
                  <a:lnTo>
                    <a:pt x="368" y="12"/>
                  </a:lnTo>
                  <a:lnTo>
                    <a:pt x="408" y="27"/>
                  </a:lnTo>
                  <a:lnTo>
                    <a:pt x="431" y="39"/>
                  </a:lnTo>
                  <a:lnTo>
                    <a:pt x="450" y="54"/>
                  </a:lnTo>
                  <a:lnTo>
                    <a:pt x="465" y="73"/>
                  </a:lnTo>
                  <a:lnTo>
                    <a:pt x="477" y="94"/>
                  </a:lnTo>
                  <a:lnTo>
                    <a:pt x="486" y="118"/>
                  </a:lnTo>
                  <a:lnTo>
                    <a:pt x="494" y="143"/>
                  </a:lnTo>
                  <a:lnTo>
                    <a:pt x="498" y="172"/>
                  </a:lnTo>
                  <a:lnTo>
                    <a:pt x="501" y="201"/>
                  </a:lnTo>
                  <a:lnTo>
                    <a:pt x="502" y="232"/>
                  </a:lnTo>
                  <a:lnTo>
                    <a:pt x="502" y="237"/>
                  </a:lnTo>
                  <a:lnTo>
                    <a:pt x="502" y="240"/>
                  </a:lnTo>
                  <a:lnTo>
                    <a:pt x="511" y="245"/>
                  </a:lnTo>
                  <a:lnTo>
                    <a:pt x="517" y="253"/>
                  </a:lnTo>
                  <a:lnTo>
                    <a:pt x="518" y="264"/>
                  </a:lnTo>
                  <a:lnTo>
                    <a:pt x="514" y="306"/>
                  </a:lnTo>
                  <a:lnTo>
                    <a:pt x="511" y="316"/>
                  </a:lnTo>
                  <a:lnTo>
                    <a:pt x="504" y="322"/>
                  </a:lnTo>
                  <a:lnTo>
                    <a:pt x="494" y="327"/>
                  </a:lnTo>
                  <a:lnTo>
                    <a:pt x="483" y="358"/>
                  </a:lnTo>
                  <a:lnTo>
                    <a:pt x="469" y="388"/>
                  </a:lnTo>
                  <a:lnTo>
                    <a:pt x="452" y="417"/>
                  </a:lnTo>
                  <a:lnTo>
                    <a:pt x="432" y="444"/>
                  </a:lnTo>
                  <a:lnTo>
                    <a:pt x="409" y="468"/>
                  </a:lnTo>
                  <a:lnTo>
                    <a:pt x="382" y="489"/>
                  </a:lnTo>
                  <a:lnTo>
                    <a:pt x="355" y="506"/>
                  </a:lnTo>
                  <a:lnTo>
                    <a:pt x="325" y="519"/>
                  </a:lnTo>
                  <a:lnTo>
                    <a:pt x="292" y="527"/>
                  </a:lnTo>
                  <a:lnTo>
                    <a:pt x="259" y="530"/>
                  </a:lnTo>
                  <a:lnTo>
                    <a:pt x="225" y="527"/>
                  </a:lnTo>
                  <a:lnTo>
                    <a:pt x="193" y="519"/>
                  </a:lnTo>
                  <a:lnTo>
                    <a:pt x="164" y="506"/>
                  </a:lnTo>
                  <a:lnTo>
                    <a:pt x="135" y="489"/>
                  </a:lnTo>
                  <a:lnTo>
                    <a:pt x="110" y="468"/>
                  </a:lnTo>
                  <a:lnTo>
                    <a:pt x="87" y="444"/>
                  </a:lnTo>
                  <a:lnTo>
                    <a:pt x="67" y="417"/>
                  </a:lnTo>
                  <a:lnTo>
                    <a:pt x="50" y="387"/>
                  </a:lnTo>
                  <a:lnTo>
                    <a:pt x="37" y="357"/>
                  </a:lnTo>
                  <a:lnTo>
                    <a:pt x="26" y="326"/>
                  </a:lnTo>
                  <a:lnTo>
                    <a:pt x="16" y="322"/>
                  </a:lnTo>
                  <a:lnTo>
                    <a:pt x="8" y="315"/>
                  </a:lnTo>
                  <a:lnTo>
                    <a:pt x="4" y="305"/>
                  </a:lnTo>
                  <a:lnTo>
                    <a:pt x="0" y="263"/>
                  </a:lnTo>
                  <a:lnTo>
                    <a:pt x="2" y="252"/>
                  </a:lnTo>
                  <a:lnTo>
                    <a:pt x="8" y="244"/>
                  </a:lnTo>
                  <a:lnTo>
                    <a:pt x="19" y="239"/>
                  </a:lnTo>
                  <a:lnTo>
                    <a:pt x="19" y="235"/>
                  </a:lnTo>
                  <a:lnTo>
                    <a:pt x="19" y="231"/>
                  </a:lnTo>
                  <a:lnTo>
                    <a:pt x="18" y="208"/>
                  </a:lnTo>
                  <a:lnTo>
                    <a:pt x="19" y="185"/>
                  </a:lnTo>
                  <a:lnTo>
                    <a:pt x="23" y="161"/>
                  </a:lnTo>
                  <a:lnTo>
                    <a:pt x="29" y="137"/>
                  </a:lnTo>
                  <a:lnTo>
                    <a:pt x="39" y="114"/>
                  </a:lnTo>
                  <a:lnTo>
                    <a:pt x="51" y="93"/>
                  </a:lnTo>
                  <a:lnTo>
                    <a:pt x="66" y="73"/>
                  </a:lnTo>
                  <a:lnTo>
                    <a:pt x="85" y="56"/>
                  </a:lnTo>
                  <a:lnTo>
                    <a:pt x="107" y="43"/>
                  </a:lnTo>
                  <a:lnTo>
                    <a:pt x="132" y="32"/>
                  </a:lnTo>
                  <a:lnTo>
                    <a:pt x="161" y="25"/>
                  </a:lnTo>
                  <a:lnTo>
                    <a:pt x="167" y="25"/>
                  </a:lnTo>
                  <a:lnTo>
                    <a:pt x="173" y="26"/>
                  </a:lnTo>
                  <a:lnTo>
                    <a:pt x="180" y="27"/>
                  </a:lnTo>
                  <a:lnTo>
                    <a:pt x="187" y="28"/>
                  </a:lnTo>
                  <a:lnTo>
                    <a:pt x="190" y="28"/>
                  </a:lnTo>
                  <a:lnTo>
                    <a:pt x="192" y="26"/>
                  </a:lnTo>
                  <a:lnTo>
                    <a:pt x="194" y="24"/>
                  </a:lnTo>
                  <a:lnTo>
                    <a:pt x="196" y="21"/>
                  </a:lnTo>
                  <a:lnTo>
                    <a:pt x="199" y="19"/>
                  </a:lnTo>
                  <a:lnTo>
                    <a:pt x="201" y="16"/>
                  </a:lnTo>
                  <a:lnTo>
                    <a:pt x="203" y="13"/>
                  </a:lnTo>
                  <a:lnTo>
                    <a:pt x="205" y="12"/>
                  </a:lnTo>
                  <a:lnTo>
                    <a:pt x="233" y="4"/>
                  </a:lnTo>
                  <a:lnTo>
                    <a:pt x="263" y="0"/>
                  </a:lnTo>
                  <a:lnTo>
                    <a:pt x="2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52"/>
            <p:cNvSpPr>
              <a:spLocks noEditPoints="1"/>
            </p:cNvSpPr>
            <p:nvPr/>
          </p:nvSpPr>
          <p:spPr bwMode="auto">
            <a:xfrm>
              <a:off x="51" y="1941"/>
              <a:ext cx="44" cy="44"/>
            </a:xfrm>
            <a:custGeom>
              <a:avLst/>
              <a:gdLst>
                <a:gd name="T0" fmla="*/ 187 w 523"/>
                <a:gd name="T1" fmla="*/ 182 h 530"/>
                <a:gd name="T2" fmla="*/ 131 w 523"/>
                <a:gd name="T3" fmla="*/ 210 h 530"/>
                <a:gd name="T4" fmla="*/ 69 w 523"/>
                <a:gd name="T5" fmla="*/ 235 h 530"/>
                <a:gd name="T6" fmla="*/ 50 w 523"/>
                <a:gd name="T7" fmla="*/ 259 h 530"/>
                <a:gd name="T8" fmla="*/ 68 w 523"/>
                <a:gd name="T9" fmla="*/ 351 h 530"/>
                <a:gd name="T10" fmla="*/ 119 w 523"/>
                <a:gd name="T11" fmla="*/ 432 h 530"/>
                <a:gd name="T12" fmla="*/ 195 w 523"/>
                <a:gd name="T13" fmla="*/ 486 h 530"/>
                <a:gd name="T14" fmla="*/ 290 w 523"/>
                <a:gd name="T15" fmla="*/ 494 h 530"/>
                <a:gd name="T16" fmla="*/ 374 w 523"/>
                <a:gd name="T17" fmla="*/ 453 h 530"/>
                <a:gd name="T18" fmla="*/ 436 w 523"/>
                <a:gd name="T19" fmla="*/ 379 h 530"/>
                <a:gd name="T20" fmla="*/ 468 w 523"/>
                <a:gd name="T21" fmla="*/ 289 h 530"/>
                <a:gd name="T22" fmla="*/ 470 w 523"/>
                <a:gd name="T23" fmla="*/ 246 h 530"/>
                <a:gd name="T24" fmla="*/ 391 w 523"/>
                <a:gd name="T25" fmla="*/ 233 h 530"/>
                <a:gd name="T26" fmla="*/ 298 w 523"/>
                <a:gd name="T27" fmla="*/ 211 h 530"/>
                <a:gd name="T28" fmla="*/ 222 w 523"/>
                <a:gd name="T29" fmla="*/ 179 h 530"/>
                <a:gd name="T30" fmla="*/ 330 w 523"/>
                <a:gd name="T31" fmla="*/ 4 h 530"/>
                <a:gd name="T32" fmla="*/ 430 w 523"/>
                <a:gd name="T33" fmla="*/ 40 h 530"/>
                <a:gd name="T34" fmla="*/ 476 w 523"/>
                <a:gd name="T35" fmla="*/ 94 h 530"/>
                <a:gd name="T36" fmla="*/ 497 w 523"/>
                <a:gd name="T37" fmla="*/ 172 h 530"/>
                <a:gd name="T38" fmla="*/ 501 w 523"/>
                <a:gd name="T39" fmla="*/ 237 h 530"/>
                <a:gd name="T40" fmla="*/ 516 w 523"/>
                <a:gd name="T41" fmla="*/ 253 h 530"/>
                <a:gd name="T42" fmla="*/ 520 w 523"/>
                <a:gd name="T43" fmla="*/ 265 h 530"/>
                <a:gd name="T44" fmla="*/ 523 w 523"/>
                <a:gd name="T45" fmla="*/ 269 h 530"/>
                <a:gd name="T46" fmla="*/ 518 w 523"/>
                <a:gd name="T47" fmla="*/ 313 h 530"/>
                <a:gd name="T48" fmla="*/ 510 w 523"/>
                <a:gd name="T49" fmla="*/ 315 h 530"/>
                <a:gd name="T50" fmla="*/ 501 w 523"/>
                <a:gd name="T51" fmla="*/ 323 h 530"/>
                <a:gd name="T52" fmla="*/ 482 w 523"/>
                <a:gd name="T53" fmla="*/ 358 h 530"/>
                <a:gd name="T54" fmla="*/ 431 w 523"/>
                <a:gd name="T55" fmla="*/ 444 h 530"/>
                <a:gd name="T56" fmla="*/ 354 w 523"/>
                <a:gd name="T57" fmla="*/ 506 h 530"/>
                <a:gd name="T58" fmla="*/ 257 w 523"/>
                <a:gd name="T59" fmla="*/ 530 h 530"/>
                <a:gd name="T60" fmla="*/ 163 w 523"/>
                <a:gd name="T61" fmla="*/ 506 h 530"/>
                <a:gd name="T62" fmla="*/ 86 w 523"/>
                <a:gd name="T63" fmla="*/ 444 h 530"/>
                <a:gd name="T64" fmla="*/ 36 w 523"/>
                <a:gd name="T65" fmla="*/ 357 h 530"/>
                <a:gd name="T66" fmla="*/ 8 w 523"/>
                <a:gd name="T67" fmla="*/ 315 h 530"/>
                <a:gd name="T68" fmla="*/ 2 w 523"/>
                <a:gd name="T69" fmla="*/ 252 h 530"/>
                <a:gd name="T70" fmla="*/ 18 w 523"/>
                <a:gd name="T71" fmla="*/ 235 h 530"/>
                <a:gd name="T72" fmla="*/ 18 w 523"/>
                <a:gd name="T73" fmla="*/ 185 h 530"/>
                <a:gd name="T74" fmla="*/ 38 w 523"/>
                <a:gd name="T75" fmla="*/ 114 h 530"/>
                <a:gd name="T76" fmla="*/ 84 w 523"/>
                <a:gd name="T77" fmla="*/ 57 h 530"/>
                <a:gd name="T78" fmla="*/ 161 w 523"/>
                <a:gd name="T79" fmla="*/ 26 h 530"/>
                <a:gd name="T80" fmla="*/ 180 w 523"/>
                <a:gd name="T81" fmla="*/ 28 h 530"/>
                <a:gd name="T82" fmla="*/ 191 w 523"/>
                <a:gd name="T83" fmla="*/ 27 h 530"/>
                <a:gd name="T84" fmla="*/ 198 w 523"/>
                <a:gd name="T85" fmla="*/ 19 h 530"/>
                <a:gd name="T86" fmla="*/ 205 w 523"/>
                <a:gd name="T87" fmla="*/ 12 h 530"/>
                <a:gd name="T88" fmla="*/ 295 w 523"/>
                <a:gd name="T89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3" h="530">
                  <a:moveTo>
                    <a:pt x="206" y="166"/>
                  </a:moveTo>
                  <a:lnTo>
                    <a:pt x="200" y="174"/>
                  </a:lnTo>
                  <a:lnTo>
                    <a:pt x="187" y="182"/>
                  </a:lnTo>
                  <a:lnTo>
                    <a:pt x="171" y="192"/>
                  </a:lnTo>
                  <a:lnTo>
                    <a:pt x="152" y="201"/>
                  </a:lnTo>
                  <a:lnTo>
                    <a:pt x="131" y="210"/>
                  </a:lnTo>
                  <a:lnTo>
                    <a:pt x="110" y="220"/>
                  </a:lnTo>
                  <a:lnTo>
                    <a:pt x="88" y="228"/>
                  </a:lnTo>
                  <a:lnTo>
                    <a:pt x="69" y="235"/>
                  </a:lnTo>
                  <a:lnTo>
                    <a:pt x="50" y="243"/>
                  </a:lnTo>
                  <a:lnTo>
                    <a:pt x="50" y="250"/>
                  </a:lnTo>
                  <a:lnTo>
                    <a:pt x="50" y="259"/>
                  </a:lnTo>
                  <a:lnTo>
                    <a:pt x="52" y="289"/>
                  </a:lnTo>
                  <a:lnTo>
                    <a:pt x="58" y="320"/>
                  </a:lnTo>
                  <a:lnTo>
                    <a:pt x="68" y="351"/>
                  </a:lnTo>
                  <a:lnTo>
                    <a:pt x="82" y="380"/>
                  </a:lnTo>
                  <a:lnTo>
                    <a:pt x="99" y="407"/>
                  </a:lnTo>
                  <a:lnTo>
                    <a:pt x="119" y="432"/>
                  </a:lnTo>
                  <a:lnTo>
                    <a:pt x="142" y="454"/>
                  </a:lnTo>
                  <a:lnTo>
                    <a:pt x="168" y="472"/>
                  </a:lnTo>
                  <a:lnTo>
                    <a:pt x="195" y="486"/>
                  </a:lnTo>
                  <a:lnTo>
                    <a:pt x="226" y="494"/>
                  </a:lnTo>
                  <a:lnTo>
                    <a:pt x="257" y="497"/>
                  </a:lnTo>
                  <a:lnTo>
                    <a:pt x="290" y="494"/>
                  </a:lnTo>
                  <a:lnTo>
                    <a:pt x="320" y="486"/>
                  </a:lnTo>
                  <a:lnTo>
                    <a:pt x="348" y="472"/>
                  </a:lnTo>
                  <a:lnTo>
                    <a:pt x="374" y="453"/>
                  </a:lnTo>
                  <a:lnTo>
                    <a:pt x="398" y="431"/>
                  </a:lnTo>
                  <a:lnTo>
                    <a:pt x="418" y="406"/>
                  </a:lnTo>
                  <a:lnTo>
                    <a:pt x="436" y="379"/>
                  </a:lnTo>
                  <a:lnTo>
                    <a:pt x="451" y="350"/>
                  </a:lnTo>
                  <a:lnTo>
                    <a:pt x="461" y="319"/>
                  </a:lnTo>
                  <a:lnTo>
                    <a:pt x="468" y="289"/>
                  </a:lnTo>
                  <a:lnTo>
                    <a:pt x="470" y="259"/>
                  </a:lnTo>
                  <a:lnTo>
                    <a:pt x="470" y="252"/>
                  </a:lnTo>
                  <a:lnTo>
                    <a:pt x="470" y="246"/>
                  </a:lnTo>
                  <a:lnTo>
                    <a:pt x="447" y="243"/>
                  </a:lnTo>
                  <a:lnTo>
                    <a:pt x="421" y="239"/>
                  </a:lnTo>
                  <a:lnTo>
                    <a:pt x="391" y="233"/>
                  </a:lnTo>
                  <a:lnTo>
                    <a:pt x="360" y="227"/>
                  </a:lnTo>
                  <a:lnTo>
                    <a:pt x="328" y="220"/>
                  </a:lnTo>
                  <a:lnTo>
                    <a:pt x="298" y="211"/>
                  </a:lnTo>
                  <a:lnTo>
                    <a:pt x="269" y="202"/>
                  </a:lnTo>
                  <a:lnTo>
                    <a:pt x="244" y="192"/>
                  </a:lnTo>
                  <a:lnTo>
                    <a:pt x="222" y="179"/>
                  </a:lnTo>
                  <a:lnTo>
                    <a:pt x="206" y="166"/>
                  </a:lnTo>
                  <a:close/>
                  <a:moveTo>
                    <a:pt x="295" y="0"/>
                  </a:moveTo>
                  <a:lnTo>
                    <a:pt x="330" y="4"/>
                  </a:lnTo>
                  <a:lnTo>
                    <a:pt x="367" y="12"/>
                  </a:lnTo>
                  <a:lnTo>
                    <a:pt x="407" y="27"/>
                  </a:lnTo>
                  <a:lnTo>
                    <a:pt x="430" y="40"/>
                  </a:lnTo>
                  <a:lnTo>
                    <a:pt x="449" y="55"/>
                  </a:lnTo>
                  <a:lnTo>
                    <a:pt x="465" y="73"/>
                  </a:lnTo>
                  <a:lnTo>
                    <a:pt x="476" y="94"/>
                  </a:lnTo>
                  <a:lnTo>
                    <a:pt x="486" y="118"/>
                  </a:lnTo>
                  <a:lnTo>
                    <a:pt x="492" y="143"/>
                  </a:lnTo>
                  <a:lnTo>
                    <a:pt x="497" y="172"/>
                  </a:lnTo>
                  <a:lnTo>
                    <a:pt x="499" y="201"/>
                  </a:lnTo>
                  <a:lnTo>
                    <a:pt x="501" y="232"/>
                  </a:lnTo>
                  <a:lnTo>
                    <a:pt x="501" y="237"/>
                  </a:lnTo>
                  <a:lnTo>
                    <a:pt x="501" y="240"/>
                  </a:lnTo>
                  <a:lnTo>
                    <a:pt x="511" y="246"/>
                  </a:lnTo>
                  <a:lnTo>
                    <a:pt x="516" y="253"/>
                  </a:lnTo>
                  <a:lnTo>
                    <a:pt x="517" y="264"/>
                  </a:lnTo>
                  <a:lnTo>
                    <a:pt x="520" y="265"/>
                  </a:lnTo>
                  <a:lnTo>
                    <a:pt x="520" y="265"/>
                  </a:lnTo>
                  <a:lnTo>
                    <a:pt x="521" y="266"/>
                  </a:lnTo>
                  <a:lnTo>
                    <a:pt x="522" y="267"/>
                  </a:lnTo>
                  <a:lnTo>
                    <a:pt x="523" y="269"/>
                  </a:lnTo>
                  <a:lnTo>
                    <a:pt x="519" y="311"/>
                  </a:lnTo>
                  <a:lnTo>
                    <a:pt x="519" y="312"/>
                  </a:lnTo>
                  <a:lnTo>
                    <a:pt x="518" y="313"/>
                  </a:lnTo>
                  <a:lnTo>
                    <a:pt x="517" y="314"/>
                  </a:lnTo>
                  <a:lnTo>
                    <a:pt x="515" y="314"/>
                  </a:lnTo>
                  <a:lnTo>
                    <a:pt x="510" y="315"/>
                  </a:lnTo>
                  <a:lnTo>
                    <a:pt x="508" y="318"/>
                  </a:lnTo>
                  <a:lnTo>
                    <a:pt x="504" y="321"/>
                  </a:lnTo>
                  <a:lnTo>
                    <a:pt x="501" y="323"/>
                  </a:lnTo>
                  <a:lnTo>
                    <a:pt x="497" y="326"/>
                  </a:lnTo>
                  <a:lnTo>
                    <a:pt x="493" y="327"/>
                  </a:lnTo>
                  <a:lnTo>
                    <a:pt x="482" y="358"/>
                  </a:lnTo>
                  <a:lnTo>
                    <a:pt x="469" y="388"/>
                  </a:lnTo>
                  <a:lnTo>
                    <a:pt x="451" y="418"/>
                  </a:lnTo>
                  <a:lnTo>
                    <a:pt x="431" y="444"/>
                  </a:lnTo>
                  <a:lnTo>
                    <a:pt x="408" y="468"/>
                  </a:lnTo>
                  <a:lnTo>
                    <a:pt x="382" y="489"/>
                  </a:lnTo>
                  <a:lnTo>
                    <a:pt x="354" y="506"/>
                  </a:lnTo>
                  <a:lnTo>
                    <a:pt x="323" y="519"/>
                  </a:lnTo>
                  <a:lnTo>
                    <a:pt x="292" y="527"/>
                  </a:lnTo>
                  <a:lnTo>
                    <a:pt x="257" y="530"/>
                  </a:lnTo>
                  <a:lnTo>
                    <a:pt x="225" y="527"/>
                  </a:lnTo>
                  <a:lnTo>
                    <a:pt x="192" y="519"/>
                  </a:lnTo>
                  <a:lnTo>
                    <a:pt x="163" y="506"/>
                  </a:lnTo>
                  <a:lnTo>
                    <a:pt x="135" y="489"/>
                  </a:lnTo>
                  <a:lnTo>
                    <a:pt x="109" y="468"/>
                  </a:lnTo>
                  <a:lnTo>
                    <a:pt x="86" y="444"/>
                  </a:lnTo>
                  <a:lnTo>
                    <a:pt x="66" y="417"/>
                  </a:lnTo>
                  <a:lnTo>
                    <a:pt x="50" y="387"/>
                  </a:lnTo>
                  <a:lnTo>
                    <a:pt x="36" y="357"/>
                  </a:lnTo>
                  <a:lnTo>
                    <a:pt x="26" y="326"/>
                  </a:lnTo>
                  <a:lnTo>
                    <a:pt x="15" y="322"/>
                  </a:lnTo>
                  <a:lnTo>
                    <a:pt x="8" y="315"/>
                  </a:lnTo>
                  <a:lnTo>
                    <a:pt x="4" y="305"/>
                  </a:lnTo>
                  <a:lnTo>
                    <a:pt x="0" y="263"/>
                  </a:lnTo>
                  <a:lnTo>
                    <a:pt x="2" y="252"/>
                  </a:lnTo>
                  <a:lnTo>
                    <a:pt x="8" y="244"/>
                  </a:lnTo>
                  <a:lnTo>
                    <a:pt x="18" y="239"/>
                  </a:lnTo>
                  <a:lnTo>
                    <a:pt x="18" y="235"/>
                  </a:lnTo>
                  <a:lnTo>
                    <a:pt x="18" y="231"/>
                  </a:lnTo>
                  <a:lnTo>
                    <a:pt x="17" y="208"/>
                  </a:lnTo>
                  <a:lnTo>
                    <a:pt x="18" y="185"/>
                  </a:lnTo>
                  <a:lnTo>
                    <a:pt x="22" y="161"/>
                  </a:lnTo>
                  <a:lnTo>
                    <a:pt x="29" y="137"/>
                  </a:lnTo>
                  <a:lnTo>
                    <a:pt x="38" y="114"/>
                  </a:lnTo>
                  <a:lnTo>
                    <a:pt x="51" y="93"/>
                  </a:lnTo>
                  <a:lnTo>
                    <a:pt x="65" y="74"/>
                  </a:lnTo>
                  <a:lnTo>
                    <a:pt x="84" y="57"/>
                  </a:lnTo>
                  <a:lnTo>
                    <a:pt x="106" y="43"/>
                  </a:lnTo>
                  <a:lnTo>
                    <a:pt x="131" y="32"/>
                  </a:lnTo>
                  <a:lnTo>
                    <a:pt x="161" y="26"/>
                  </a:lnTo>
                  <a:lnTo>
                    <a:pt x="166" y="26"/>
                  </a:lnTo>
                  <a:lnTo>
                    <a:pt x="172" y="26"/>
                  </a:lnTo>
                  <a:lnTo>
                    <a:pt x="180" y="28"/>
                  </a:lnTo>
                  <a:lnTo>
                    <a:pt x="186" y="28"/>
                  </a:lnTo>
                  <a:lnTo>
                    <a:pt x="189" y="28"/>
                  </a:lnTo>
                  <a:lnTo>
                    <a:pt x="191" y="27"/>
                  </a:lnTo>
                  <a:lnTo>
                    <a:pt x="193" y="24"/>
                  </a:lnTo>
                  <a:lnTo>
                    <a:pt x="195" y="22"/>
                  </a:lnTo>
                  <a:lnTo>
                    <a:pt x="198" y="19"/>
                  </a:lnTo>
                  <a:lnTo>
                    <a:pt x="201" y="17"/>
                  </a:lnTo>
                  <a:lnTo>
                    <a:pt x="203" y="14"/>
                  </a:lnTo>
                  <a:lnTo>
                    <a:pt x="205" y="12"/>
                  </a:lnTo>
                  <a:lnTo>
                    <a:pt x="232" y="5"/>
                  </a:lnTo>
                  <a:lnTo>
                    <a:pt x="262" y="0"/>
                  </a:lnTo>
                  <a:lnTo>
                    <a:pt x="2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53"/>
            <p:cNvSpPr>
              <a:spLocks/>
            </p:cNvSpPr>
            <p:nvPr/>
          </p:nvSpPr>
          <p:spPr bwMode="auto">
            <a:xfrm>
              <a:off x="14" y="1953"/>
              <a:ext cx="44" cy="26"/>
            </a:xfrm>
            <a:custGeom>
              <a:avLst/>
              <a:gdLst>
                <a:gd name="T0" fmla="*/ 390 w 528"/>
                <a:gd name="T1" fmla="*/ 0 h 312"/>
                <a:gd name="T2" fmla="*/ 394 w 528"/>
                <a:gd name="T3" fmla="*/ 0 h 312"/>
                <a:gd name="T4" fmla="*/ 414 w 528"/>
                <a:gd name="T5" fmla="*/ 6 h 312"/>
                <a:gd name="T6" fmla="*/ 433 w 528"/>
                <a:gd name="T7" fmla="*/ 16 h 312"/>
                <a:gd name="T8" fmla="*/ 449 w 528"/>
                <a:gd name="T9" fmla="*/ 30 h 312"/>
                <a:gd name="T10" fmla="*/ 447 w 528"/>
                <a:gd name="T11" fmla="*/ 53 h 312"/>
                <a:gd name="T12" fmla="*/ 448 w 528"/>
                <a:gd name="T13" fmla="*/ 75 h 312"/>
                <a:gd name="T14" fmla="*/ 438 w 528"/>
                <a:gd name="T15" fmla="*/ 86 h 312"/>
                <a:gd name="T16" fmla="*/ 432 w 528"/>
                <a:gd name="T17" fmla="*/ 99 h 312"/>
                <a:gd name="T18" fmla="*/ 430 w 528"/>
                <a:gd name="T19" fmla="*/ 114 h 312"/>
                <a:gd name="T20" fmla="*/ 434 w 528"/>
                <a:gd name="T21" fmla="*/ 156 h 312"/>
                <a:gd name="T22" fmla="*/ 438 w 528"/>
                <a:gd name="T23" fmla="*/ 170 h 312"/>
                <a:gd name="T24" fmla="*/ 447 w 528"/>
                <a:gd name="T25" fmla="*/ 183 h 312"/>
                <a:gd name="T26" fmla="*/ 460 w 528"/>
                <a:gd name="T27" fmla="*/ 190 h 312"/>
                <a:gd name="T28" fmla="*/ 471 w 528"/>
                <a:gd name="T29" fmla="*/ 223 h 312"/>
                <a:gd name="T30" fmla="*/ 487 w 528"/>
                <a:gd name="T31" fmla="*/ 254 h 312"/>
                <a:gd name="T32" fmla="*/ 506 w 528"/>
                <a:gd name="T33" fmla="*/ 284 h 312"/>
                <a:gd name="T34" fmla="*/ 528 w 528"/>
                <a:gd name="T35" fmla="*/ 311 h 312"/>
                <a:gd name="T36" fmla="*/ 261 w 528"/>
                <a:gd name="T37" fmla="*/ 312 h 312"/>
                <a:gd name="T38" fmla="*/ 261 w 528"/>
                <a:gd name="T39" fmla="*/ 312 h 312"/>
                <a:gd name="T40" fmla="*/ 0 w 528"/>
                <a:gd name="T41" fmla="*/ 312 h 312"/>
                <a:gd name="T42" fmla="*/ 23 w 528"/>
                <a:gd name="T43" fmla="*/ 284 h 312"/>
                <a:gd name="T44" fmla="*/ 42 w 528"/>
                <a:gd name="T45" fmla="*/ 254 h 312"/>
                <a:gd name="T46" fmla="*/ 58 w 528"/>
                <a:gd name="T47" fmla="*/ 223 h 312"/>
                <a:gd name="T48" fmla="*/ 70 w 528"/>
                <a:gd name="T49" fmla="*/ 191 h 312"/>
                <a:gd name="T50" fmla="*/ 83 w 528"/>
                <a:gd name="T51" fmla="*/ 183 h 312"/>
                <a:gd name="T52" fmla="*/ 91 w 528"/>
                <a:gd name="T53" fmla="*/ 170 h 312"/>
                <a:gd name="T54" fmla="*/ 94 w 528"/>
                <a:gd name="T55" fmla="*/ 156 h 312"/>
                <a:gd name="T56" fmla="*/ 99 w 528"/>
                <a:gd name="T57" fmla="*/ 115 h 312"/>
                <a:gd name="T58" fmla="*/ 97 w 528"/>
                <a:gd name="T59" fmla="*/ 100 h 312"/>
                <a:gd name="T60" fmla="*/ 91 w 528"/>
                <a:gd name="T61" fmla="*/ 88 h 312"/>
                <a:gd name="T62" fmla="*/ 82 w 528"/>
                <a:gd name="T63" fmla="*/ 77 h 312"/>
                <a:gd name="T64" fmla="*/ 79 w 528"/>
                <a:gd name="T65" fmla="*/ 26 h 312"/>
                <a:gd name="T66" fmla="*/ 93 w 528"/>
                <a:gd name="T67" fmla="*/ 14 h 312"/>
                <a:gd name="T68" fmla="*/ 110 w 528"/>
                <a:gd name="T69" fmla="*/ 5 h 312"/>
                <a:gd name="T70" fmla="*/ 129 w 528"/>
                <a:gd name="T71" fmla="*/ 0 h 312"/>
                <a:gd name="T72" fmla="*/ 133 w 528"/>
                <a:gd name="T73" fmla="*/ 0 h 312"/>
                <a:gd name="T74" fmla="*/ 137 w 528"/>
                <a:gd name="T75" fmla="*/ 1 h 312"/>
                <a:gd name="T76" fmla="*/ 140 w 528"/>
                <a:gd name="T77" fmla="*/ 2 h 312"/>
                <a:gd name="T78" fmla="*/ 209 w 528"/>
                <a:gd name="T79" fmla="*/ 95 h 312"/>
                <a:gd name="T80" fmla="*/ 261 w 528"/>
                <a:gd name="T81" fmla="*/ 53 h 312"/>
                <a:gd name="T82" fmla="*/ 261 w 528"/>
                <a:gd name="T83" fmla="*/ 53 h 312"/>
                <a:gd name="T84" fmla="*/ 261 w 528"/>
                <a:gd name="T85" fmla="*/ 53 h 312"/>
                <a:gd name="T86" fmla="*/ 313 w 528"/>
                <a:gd name="T87" fmla="*/ 94 h 312"/>
                <a:gd name="T88" fmla="*/ 382 w 528"/>
                <a:gd name="T89" fmla="*/ 2 h 312"/>
                <a:gd name="T90" fmla="*/ 386 w 528"/>
                <a:gd name="T91" fmla="*/ 1 h 312"/>
                <a:gd name="T92" fmla="*/ 390 w 528"/>
                <a:gd name="T93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8" h="312">
                  <a:moveTo>
                    <a:pt x="390" y="0"/>
                  </a:moveTo>
                  <a:lnTo>
                    <a:pt x="394" y="0"/>
                  </a:lnTo>
                  <a:lnTo>
                    <a:pt x="414" y="6"/>
                  </a:lnTo>
                  <a:lnTo>
                    <a:pt x="433" y="16"/>
                  </a:lnTo>
                  <a:lnTo>
                    <a:pt x="449" y="30"/>
                  </a:lnTo>
                  <a:lnTo>
                    <a:pt x="447" y="53"/>
                  </a:lnTo>
                  <a:lnTo>
                    <a:pt x="448" y="75"/>
                  </a:lnTo>
                  <a:lnTo>
                    <a:pt x="438" y="86"/>
                  </a:lnTo>
                  <a:lnTo>
                    <a:pt x="432" y="99"/>
                  </a:lnTo>
                  <a:lnTo>
                    <a:pt x="430" y="114"/>
                  </a:lnTo>
                  <a:lnTo>
                    <a:pt x="434" y="156"/>
                  </a:lnTo>
                  <a:lnTo>
                    <a:pt x="438" y="170"/>
                  </a:lnTo>
                  <a:lnTo>
                    <a:pt x="447" y="183"/>
                  </a:lnTo>
                  <a:lnTo>
                    <a:pt x="460" y="190"/>
                  </a:lnTo>
                  <a:lnTo>
                    <a:pt x="471" y="223"/>
                  </a:lnTo>
                  <a:lnTo>
                    <a:pt x="487" y="254"/>
                  </a:lnTo>
                  <a:lnTo>
                    <a:pt x="506" y="284"/>
                  </a:lnTo>
                  <a:lnTo>
                    <a:pt x="528" y="311"/>
                  </a:lnTo>
                  <a:lnTo>
                    <a:pt x="261" y="312"/>
                  </a:lnTo>
                  <a:lnTo>
                    <a:pt x="261" y="312"/>
                  </a:lnTo>
                  <a:lnTo>
                    <a:pt x="0" y="312"/>
                  </a:lnTo>
                  <a:lnTo>
                    <a:pt x="23" y="284"/>
                  </a:lnTo>
                  <a:lnTo>
                    <a:pt x="42" y="254"/>
                  </a:lnTo>
                  <a:lnTo>
                    <a:pt x="58" y="223"/>
                  </a:lnTo>
                  <a:lnTo>
                    <a:pt x="70" y="191"/>
                  </a:lnTo>
                  <a:lnTo>
                    <a:pt x="83" y="183"/>
                  </a:lnTo>
                  <a:lnTo>
                    <a:pt x="91" y="170"/>
                  </a:lnTo>
                  <a:lnTo>
                    <a:pt x="94" y="156"/>
                  </a:lnTo>
                  <a:lnTo>
                    <a:pt x="99" y="115"/>
                  </a:lnTo>
                  <a:lnTo>
                    <a:pt x="97" y="100"/>
                  </a:lnTo>
                  <a:lnTo>
                    <a:pt x="91" y="88"/>
                  </a:lnTo>
                  <a:lnTo>
                    <a:pt x="82" y="77"/>
                  </a:lnTo>
                  <a:lnTo>
                    <a:pt x="79" y="26"/>
                  </a:lnTo>
                  <a:lnTo>
                    <a:pt x="93" y="14"/>
                  </a:lnTo>
                  <a:lnTo>
                    <a:pt x="110" y="5"/>
                  </a:lnTo>
                  <a:lnTo>
                    <a:pt x="129" y="0"/>
                  </a:lnTo>
                  <a:lnTo>
                    <a:pt x="133" y="0"/>
                  </a:lnTo>
                  <a:lnTo>
                    <a:pt x="137" y="1"/>
                  </a:lnTo>
                  <a:lnTo>
                    <a:pt x="140" y="2"/>
                  </a:lnTo>
                  <a:lnTo>
                    <a:pt x="209" y="95"/>
                  </a:lnTo>
                  <a:lnTo>
                    <a:pt x="261" y="53"/>
                  </a:lnTo>
                  <a:lnTo>
                    <a:pt x="261" y="53"/>
                  </a:lnTo>
                  <a:lnTo>
                    <a:pt x="261" y="53"/>
                  </a:lnTo>
                  <a:lnTo>
                    <a:pt x="313" y="94"/>
                  </a:lnTo>
                  <a:lnTo>
                    <a:pt x="382" y="2"/>
                  </a:lnTo>
                  <a:lnTo>
                    <a:pt x="386" y="1"/>
                  </a:lnTo>
                  <a:lnTo>
                    <a:pt x="3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54"/>
            <p:cNvSpPr>
              <a:spLocks/>
            </p:cNvSpPr>
            <p:nvPr/>
          </p:nvSpPr>
          <p:spPr bwMode="auto">
            <a:xfrm>
              <a:off x="104" y="2027"/>
              <a:ext cx="8" cy="11"/>
            </a:xfrm>
            <a:custGeom>
              <a:avLst/>
              <a:gdLst>
                <a:gd name="T0" fmla="*/ 95 w 95"/>
                <a:gd name="T1" fmla="*/ 0 h 135"/>
                <a:gd name="T2" fmla="*/ 79 w 95"/>
                <a:gd name="T3" fmla="*/ 38 h 135"/>
                <a:gd name="T4" fmla="*/ 57 w 95"/>
                <a:gd name="T5" fmla="*/ 73 h 135"/>
                <a:gd name="T6" fmla="*/ 31 w 95"/>
                <a:gd name="T7" fmla="*/ 106 h 135"/>
                <a:gd name="T8" fmla="*/ 0 w 95"/>
                <a:gd name="T9" fmla="*/ 135 h 135"/>
                <a:gd name="T10" fmla="*/ 29 w 95"/>
                <a:gd name="T11" fmla="*/ 106 h 135"/>
                <a:gd name="T12" fmla="*/ 56 w 95"/>
                <a:gd name="T13" fmla="*/ 73 h 135"/>
                <a:gd name="T14" fmla="*/ 79 w 95"/>
                <a:gd name="T15" fmla="*/ 38 h 135"/>
                <a:gd name="T16" fmla="*/ 95 w 95"/>
                <a:gd name="T17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" h="135">
                  <a:moveTo>
                    <a:pt x="95" y="0"/>
                  </a:moveTo>
                  <a:lnTo>
                    <a:pt x="79" y="38"/>
                  </a:lnTo>
                  <a:lnTo>
                    <a:pt x="57" y="73"/>
                  </a:lnTo>
                  <a:lnTo>
                    <a:pt x="31" y="106"/>
                  </a:lnTo>
                  <a:lnTo>
                    <a:pt x="0" y="135"/>
                  </a:lnTo>
                  <a:lnTo>
                    <a:pt x="29" y="106"/>
                  </a:lnTo>
                  <a:lnTo>
                    <a:pt x="56" y="73"/>
                  </a:lnTo>
                  <a:lnTo>
                    <a:pt x="79" y="38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55"/>
            <p:cNvSpPr>
              <a:spLocks/>
            </p:cNvSpPr>
            <p:nvPr/>
          </p:nvSpPr>
          <p:spPr bwMode="auto">
            <a:xfrm>
              <a:off x="-29" y="1982"/>
              <a:ext cx="20" cy="13"/>
            </a:xfrm>
            <a:custGeom>
              <a:avLst/>
              <a:gdLst>
                <a:gd name="T0" fmla="*/ 149 w 234"/>
                <a:gd name="T1" fmla="*/ 0 h 158"/>
                <a:gd name="T2" fmla="*/ 154 w 234"/>
                <a:gd name="T3" fmla="*/ 1 h 158"/>
                <a:gd name="T4" fmla="*/ 158 w 234"/>
                <a:gd name="T5" fmla="*/ 2 h 158"/>
                <a:gd name="T6" fmla="*/ 234 w 234"/>
                <a:gd name="T7" fmla="*/ 104 h 158"/>
                <a:gd name="T8" fmla="*/ 202 w 234"/>
                <a:gd name="T9" fmla="*/ 104 h 158"/>
                <a:gd name="T10" fmla="*/ 173 w 234"/>
                <a:gd name="T11" fmla="*/ 106 h 158"/>
                <a:gd name="T12" fmla="*/ 145 w 234"/>
                <a:gd name="T13" fmla="*/ 112 h 158"/>
                <a:gd name="T14" fmla="*/ 118 w 234"/>
                <a:gd name="T15" fmla="*/ 121 h 158"/>
                <a:gd name="T16" fmla="*/ 110 w 234"/>
                <a:gd name="T17" fmla="*/ 126 h 158"/>
                <a:gd name="T18" fmla="*/ 101 w 234"/>
                <a:gd name="T19" fmla="*/ 135 h 158"/>
                <a:gd name="T20" fmla="*/ 99 w 234"/>
                <a:gd name="T21" fmla="*/ 136 h 158"/>
                <a:gd name="T22" fmla="*/ 98 w 234"/>
                <a:gd name="T23" fmla="*/ 137 h 158"/>
                <a:gd name="T24" fmla="*/ 97 w 234"/>
                <a:gd name="T25" fmla="*/ 136 h 158"/>
                <a:gd name="T26" fmla="*/ 95 w 234"/>
                <a:gd name="T27" fmla="*/ 136 h 158"/>
                <a:gd name="T28" fmla="*/ 85 w 234"/>
                <a:gd name="T29" fmla="*/ 134 h 158"/>
                <a:gd name="T30" fmla="*/ 76 w 234"/>
                <a:gd name="T31" fmla="*/ 134 h 158"/>
                <a:gd name="T32" fmla="*/ 70 w 234"/>
                <a:gd name="T33" fmla="*/ 134 h 158"/>
                <a:gd name="T34" fmla="*/ 44 w 234"/>
                <a:gd name="T35" fmla="*/ 139 h 158"/>
                <a:gd name="T36" fmla="*/ 21 w 234"/>
                <a:gd name="T37" fmla="*/ 148 h 158"/>
                <a:gd name="T38" fmla="*/ 0 w 234"/>
                <a:gd name="T39" fmla="*/ 158 h 158"/>
                <a:gd name="T40" fmla="*/ 10 w 234"/>
                <a:gd name="T41" fmla="*/ 129 h 158"/>
                <a:gd name="T42" fmla="*/ 24 w 234"/>
                <a:gd name="T43" fmla="*/ 102 h 158"/>
                <a:gd name="T44" fmla="*/ 39 w 234"/>
                <a:gd name="T45" fmla="*/ 76 h 158"/>
                <a:gd name="T46" fmla="*/ 55 w 234"/>
                <a:gd name="T47" fmla="*/ 54 h 158"/>
                <a:gd name="T48" fmla="*/ 73 w 234"/>
                <a:gd name="T49" fmla="*/ 34 h 158"/>
                <a:gd name="T50" fmla="*/ 94 w 234"/>
                <a:gd name="T51" fmla="*/ 18 h 158"/>
                <a:gd name="T52" fmla="*/ 117 w 234"/>
                <a:gd name="T53" fmla="*/ 6 h 158"/>
                <a:gd name="T54" fmla="*/ 142 w 234"/>
                <a:gd name="T55" fmla="*/ 0 h 158"/>
                <a:gd name="T56" fmla="*/ 149 w 234"/>
                <a:gd name="T57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4" h="158">
                  <a:moveTo>
                    <a:pt x="149" y="0"/>
                  </a:moveTo>
                  <a:lnTo>
                    <a:pt x="154" y="1"/>
                  </a:lnTo>
                  <a:lnTo>
                    <a:pt x="158" y="2"/>
                  </a:lnTo>
                  <a:lnTo>
                    <a:pt x="234" y="104"/>
                  </a:lnTo>
                  <a:lnTo>
                    <a:pt x="202" y="104"/>
                  </a:lnTo>
                  <a:lnTo>
                    <a:pt x="173" y="106"/>
                  </a:lnTo>
                  <a:lnTo>
                    <a:pt x="145" y="112"/>
                  </a:lnTo>
                  <a:lnTo>
                    <a:pt x="118" y="121"/>
                  </a:lnTo>
                  <a:lnTo>
                    <a:pt x="110" y="126"/>
                  </a:lnTo>
                  <a:lnTo>
                    <a:pt x="101" y="135"/>
                  </a:lnTo>
                  <a:lnTo>
                    <a:pt x="99" y="136"/>
                  </a:lnTo>
                  <a:lnTo>
                    <a:pt x="98" y="137"/>
                  </a:lnTo>
                  <a:lnTo>
                    <a:pt x="97" y="136"/>
                  </a:lnTo>
                  <a:lnTo>
                    <a:pt x="95" y="136"/>
                  </a:lnTo>
                  <a:lnTo>
                    <a:pt x="85" y="134"/>
                  </a:lnTo>
                  <a:lnTo>
                    <a:pt x="76" y="134"/>
                  </a:lnTo>
                  <a:lnTo>
                    <a:pt x="70" y="134"/>
                  </a:lnTo>
                  <a:lnTo>
                    <a:pt x="44" y="139"/>
                  </a:lnTo>
                  <a:lnTo>
                    <a:pt x="21" y="148"/>
                  </a:lnTo>
                  <a:lnTo>
                    <a:pt x="0" y="158"/>
                  </a:lnTo>
                  <a:lnTo>
                    <a:pt x="10" y="129"/>
                  </a:lnTo>
                  <a:lnTo>
                    <a:pt x="24" y="102"/>
                  </a:lnTo>
                  <a:lnTo>
                    <a:pt x="39" y="76"/>
                  </a:lnTo>
                  <a:lnTo>
                    <a:pt x="55" y="54"/>
                  </a:lnTo>
                  <a:lnTo>
                    <a:pt x="73" y="34"/>
                  </a:lnTo>
                  <a:lnTo>
                    <a:pt x="94" y="18"/>
                  </a:lnTo>
                  <a:lnTo>
                    <a:pt x="117" y="6"/>
                  </a:lnTo>
                  <a:lnTo>
                    <a:pt x="142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56"/>
            <p:cNvSpPr>
              <a:spLocks noEditPoints="1"/>
            </p:cNvSpPr>
            <p:nvPr/>
          </p:nvSpPr>
          <p:spPr bwMode="auto">
            <a:xfrm>
              <a:off x="7" y="2006"/>
              <a:ext cx="63" cy="64"/>
            </a:xfrm>
            <a:custGeom>
              <a:avLst/>
              <a:gdLst>
                <a:gd name="T0" fmla="*/ 280 w 755"/>
                <a:gd name="T1" fmla="*/ 262 h 773"/>
                <a:gd name="T2" fmla="*/ 220 w 755"/>
                <a:gd name="T3" fmla="*/ 294 h 773"/>
                <a:gd name="T4" fmla="*/ 144 w 755"/>
                <a:gd name="T5" fmla="*/ 328 h 773"/>
                <a:gd name="T6" fmla="*/ 74 w 755"/>
                <a:gd name="T7" fmla="*/ 355 h 773"/>
                <a:gd name="T8" fmla="*/ 81 w 755"/>
                <a:gd name="T9" fmla="*/ 455 h 773"/>
                <a:gd name="T10" fmla="*/ 125 w 755"/>
                <a:gd name="T11" fmla="*/ 565 h 773"/>
                <a:gd name="T12" fmla="*/ 199 w 755"/>
                <a:gd name="T13" fmla="*/ 656 h 773"/>
                <a:gd name="T14" fmla="*/ 299 w 755"/>
                <a:gd name="T15" fmla="*/ 713 h 773"/>
                <a:gd name="T16" fmla="*/ 415 w 755"/>
                <a:gd name="T17" fmla="*/ 723 h 773"/>
                <a:gd name="T18" fmla="*/ 523 w 755"/>
                <a:gd name="T19" fmla="*/ 679 h 773"/>
                <a:gd name="T20" fmla="*/ 608 w 755"/>
                <a:gd name="T21" fmla="*/ 596 h 773"/>
                <a:gd name="T22" fmla="*/ 664 w 755"/>
                <a:gd name="T23" fmla="*/ 490 h 773"/>
                <a:gd name="T24" fmla="*/ 685 w 755"/>
                <a:gd name="T25" fmla="*/ 378 h 773"/>
                <a:gd name="T26" fmla="*/ 626 w 755"/>
                <a:gd name="T27" fmla="*/ 350 h 773"/>
                <a:gd name="T28" fmla="*/ 517 w 755"/>
                <a:gd name="T29" fmla="*/ 330 h 773"/>
                <a:gd name="T30" fmla="*/ 406 w 755"/>
                <a:gd name="T31" fmla="*/ 300 h 773"/>
                <a:gd name="T32" fmla="*/ 319 w 755"/>
                <a:gd name="T33" fmla="*/ 260 h 773"/>
                <a:gd name="T34" fmla="*/ 452 w 755"/>
                <a:gd name="T35" fmla="*/ 2 h 773"/>
                <a:gd name="T36" fmla="*/ 593 w 755"/>
                <a:gd name="T37" fmla="*/ 40 h 773"/>
                <a:gd name="T38" fmla="*/ 665 w 755"/>
                <a:gd name="T39" fmla="*/ 92 h 773"/>
                <a:gd name="T40" fmla="*/ 706 w 755"/>
                <a:gd name="T41" fmla="*/ 170 h 773"/>
                <a:gd name="T42" fmla="*/ 726 w 755"/>
                <a:gd name="T43" fmla="*/ 266 h 773"/>
                <a:gd name="T44" fmla="*/ 730 w 755"/>
                <a:gd name="T45" fmla="*/ 346 h 773"/>
                <a:gd name="T46" fmla="*/ 748 w 755"/>
                <a:gd name="T47" fmla="*/ 365 h 773"/>
                <a:gd name="T48" fmla="*/ 749 w 755"/>
                <a:gd name="T49" fmla="*/ 446 h 773"/>
                <a:gd name="T50" fmla="*/ 729 w 755"/>
                <a:gd name="T51" fmla="*/ 474 h 773"/>
                <a:gd name="T52" fmla="*/ 691 w 755"/>
                <a:gd name="T53" fmla="*/ 552 h 773"/>
                <a:gd name="T54" fmla="*/ 624 w 755"/>
                <a:gd name="T55" fmla="*/ 654 h 773"/>
                <a:gd name="T56" fmla="*/ 530 w 755"/>
                <a:gd name="T57" fmla="*/ 731 h 773"/>
                <a:gd name="T58" fmla="*/ 417 w 755"/>
                <a:gd name="T59" fmla="*/ 771 h 773"/>
                <a:gd name="T60" fmla="*/ 296 w 755"/>
                <a:gd name="T61" fmla="*/ 763 h 773"/>
                <a:gd name="T62" fmla="*/ 191 w 755"/>
                <a:gd name="T63" fmla="*/ 708 h 773"/>
                <a:gd name="T64" fmla="*/ 107 w 755"/>
                <a:gd name="T65" fmla="*/ 621 h 773"/>
                <a:gd name="T66" fmla="*/ 51 w 755"/>
                <a:gd name="T67" fmla="*/ 514 h 773"/>
                <a:gd name="T68" fmla="*/ 16 w 755"/>
                <a:gd name="T69" fmla="*/ 466 h 773"/>
                <a:gd name="T70" fmla="*/ 0 w 755"/>
                <a:gd name="T71" fmla="*/ 385 h 773"/>
                <a:gd name="T72" fmla="*/ 16 w 755"/>
                <a:gd name="T73" fmla="*/ 354 h 773"/>
                <a:gd name="T74" fmla="*/ 26 w 755"/>
                <a:gd name="T75" fmla="*/ 312 h 773"/>
                <a:gd name="T76" fmla="*/ 35 w 755"/>
                <a:gd name="T77" fmla="*/ 231 h 773"/>
                <a:gd name="T78" fmla="*/ 65 w 755"/>
                <a:gd name="T79" fmla="*/ 152 h 773"/>
                <a:gd name="T80" fmla="*/ 120 w 755"/>
                <a:gd name="T81" fmla="*/ 87 h 773"/>
                <a:gd name="T82" fmla="*/ 201 w 755"/>
                <a:gd name="T83" fmla="*/ 45 h 773"/>
                <a:gd name="T84" fmla="*/ 252 w 755"/>
                <a:gd name="T85" fmla="*/ 40 h 773"/>
                <a:gd name="T86" fmla="*/ 276 w 755"/>
                <a:gd name="T87" fmla="*/ 42 h 773"/>
                <a:gd name="T88" fmla="*/ 290 w 755"/>
                <a:gd name="T89" fmla="*/ 27 h 773"/>
                <a:gd name="T90" fmla="*/ 332 w 755"/>
                <a:gd name="T91" fmla="*/ 8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55" h="773">
                  <a:moveTo>
                    <a:pt x="300" y="244"/>
                  </a:moveTo>
                  <a:lnTo>
                    <a:pt x="293" y="253"/>
                  </a:lnTo>
                  <a:lnTo>
                    <a:pt x="280" y="262"/>
                  </a:lnTo>
                  <a:lnTo>
                    <a:pt x="263" y="272"/>
                  </a:lnTo>
                  <a:lnTo>
                    <a:pt x="243" y="284"/>
                  </a:lnTo>
                  <a:lnTo>
                    <a:pt x="220" y="294"/>
                  </a:lnTo>
                  <a:lnTo>
                    <a:pt x="195" y="306"/>
                  </a:lnTo>
                  <a:lnTo>
                    <a:pt x="170" y="316"/>
                  </a:lnTo>
                  <a:lnTo>
                    <a:pt x="144" y="328"/>
                  </a:lnTo>
                  <a:lnTo>
                    <a:pt x="119" y="338"/>
                  </a:lnTo>
                  <a:lnTo>
                    <a:pt x="95" y="347"/>
                  </a:lnTo>
                  <a:lnTo>
                    <a:pt x="74" y="355"/>
                  </a:lnTo>
                  <a:lnTo>
                    <a:pt x="73" y="378"/>
                  </a:lnTo>
                  <a:lnTo>
                    <a:pt x="75" y="416"/>
                  </a:lnTo>
                  <a:lnTo>
                    <a:pt x="81" y="455"/>
                  </a:lnTo>
                  <a:lnTo>
                    <a:pt x="91" y="492"/>
                  </a:lnTo>
                  <a:lnTo>
                    <a:pt x="106" y="529"/>
                  </a:lnTo>
                  <a:lnTo>
                    <a:pt x="125" y="565"/>
                  </a:lnTo>
                  <a:lnTo>
                    <a:pt x="147" y="598"/>
                  </a:lnTo>
                  <a:lnTo>
                    <a:pt x="172" y="629"/>
                  </a:lnTo>
                  <a:lnTo>
                    <a:pt x="199" y="656"/>
                  </a:lnTo>
                  <a:lnTo>
                    <a:pt x="231" y="680"/>
                  </a:lnTo>
                  <a:lnTo>
                    <a:pt x="263" y="699"/>
                  </a:lnTo>
                  <a:lnTo>
                    <a:pt x="299" y="713"/>
                  </a:lnTo>
                  <a:lnTo>
                    <a:pt x="337" y="723"/>
                  </a:lnTo>
                  <a:lnTo>
                    <a:pt x="375" y="726"/>
                  </a:lnTo>
                  <a:lnTo>
                    <a:pt x="415" y="723"/>
                  </a:lnTo>
                  <a:lnTo>
                    <a:pt x="453" y="713"/>
                  </a:lnTo>
                  <a:lnTo>
                    <a:pt x="488" y="699"/>
                  </a:lnTo>
                  <a:lnTo>
                    <a:pt x="523" y="679"/>
                  </a:lnTo>
                  <a:lnTo>
                    <a:pt x="553" y="655"/>
                  </a:lnTo>
                  <a:lnTo>
                    <a:pt x="583" y="628"/>
                  </a:lnTo>
                  <a:lnTo>
                    <a:pt x="608" y="596"/>
                  </a:lnTo>
                  <a:lnTo>
                    <a:pt x="631" y="563"/>
                  </a:lnTo>
                  <a:lnTo>
                    <a:pt x="650" y="528"/>
                  </a:lnTo>
                  <a:lnTo>
                    <a:pt x="664" y="490"/>
                  </a:lnTo>
                  <a:lnTo>
                    <a:pt x="676" y="454"/>
                  </a:lnTo>
                  <a:lnTo>
                    <a:pt x="682" y="415"/>
                  </a:lnTo>
                  <a:lnTo>
                    <a:pt x="685" y="378"/>
                  </a:lnTo>
                  <a:lnTo>
                    <a:pt x="684" y="358"/>
                  </a:lnTo>
                  <a:lnTo>
                    <a:pt x="657" y="355"/>
                  </a:lnTo>
                  <a:lnTo>
                    <a:pt x="626" y="350"/>
                  </a:lnTo>
                  <a:lnTo>
                    <a:pt x="591" y="345"/>
                  </a:lnTo>
                  <a:lnTo>
                    <a:pt x="554" y="338"/>
                  </a:lnTo>
                  <a:lnTo>
                    <a:pt x="517" y="330"/>
                  </a:lnTo>
                  <a:lnTo>
                    <a:pt x="479" y="322"/>
                  </a:lnTo>
                  <a:lnTo>
                    <a:pt x="441" y="311"/>
                  </a:lnTo>
                  <a:lnTo>
                    <a:pt x="406" y="300"/>
                  </a:lnTo>
                  <a:lnTo>
                    <a:pt x="373" y="288"/>
                  </a:lnTo>
                  <a:lnTo>
                    <a:pt x="344" y="275"/>
                  </a:lnTo>
                  <a:lnTo>
                    <a:pt x="319" y="260"/>
                  </a:lnTo>
                  <a:lnTo>
                    <a:pt x="300" y="244"/>
                  </a:lnTo>
                  <a:close/>
                  <a:moveTo>
                    <a:pt x="410" y="0"/>
                  </a:moveTo>
                  <a:lnTo>
                    <a:pt x="452" y="2"/>
                  </a:lnTo>
                  <a:lnTo>
                    <a:pt x="497" y="9"/>
                  </a:lnTo>
                  <a:lnTo>
                    <a:pt x="544" y="22"/>
                  </a:lnTo>
                  <a:lnTo>
                    <a:pt x="593" y="40"/>
                  </a:lnTo>
                  <a:lnTo>
                    <a:pt x="620" y="55"/>
                  </a:lnTo>
                  <a:lnTo>
                    <a:pt x="645" y="72"/>
                  </a:lnTo>
                  <a:lnTo>
                    <a:pt x="665" y="92"/>
                  </a:lnTo>
                  <a:lnTo>
                    <a:pt x="682" y="115"/>
                  </a:lnTo>
                  <a:lnTo>
                    <a:pt x="696" y="141"/>
                  </a:lnTo>
                  <a:lnTo>
                    <a:pt x="706" y="170"/>
                  </a:lnTo>
                  <a:lnTo>
                    <a:pt x="716" y="200"/>
                  </a:lnTo>
                  <a:lnTo>
                    <a:pt x="722" y="233"/>
                  </a:lnTo>
                  <a:lnTo>
                    <a:pt x="726" y="266"/>
                  </a:lnTo>
                  <a:lnTo>
                    <a:pt x="729" y="303"/>
                  </a:lnTo>
                  <a:lnTo>
                    <a:pt x="730" y="339"/>
                  </a:lnTo>
                  <a:lnTo>
                    <a:pt x="730" y="346"/>
                  </a:lnTo>
                  <a:lnTo>
                    <a:pt x="731" y="351"/>
                  </a:lnTo>
                  <a:lnTo>
                    <a:pt x="741" y="356"/>
                  </a:lnTo>
                  <a:lnTo>
                    <a:pt x="748" y="365"/>
                  </a:lnTo>
                  <a:lnTo>
                    <a:pt x="753" y="374"/>
                  </a:lnTo>
                  <a:lnTo>
                    <a:pt x="755" y="386"/>
                  </a:lnTo>
                  <a:lnTo>
                    <a:pt x="749" y="446"/>
                  </a:lnTo>
                  <a:lnTo>
                    <a:pt x="746" y="458"/>
                  </a:lnTo>
                  <a:lnTo>
                    <a:pt x="739" y="467"/>
                  </a:lnTo>
                  <a:lnTo>
                    <a:pt x="729" y="474"/>
                  </a:lnTo>
                  <a:lnTo>
                    <a:pt x="719" y="477"/>
                  </a:lnTo>
                  <a:lnTo>
                    <a:pt x="706" y="515"/>
                  </a:lnTo>
                  <a:lnTo>
                    <a:pt x="691" y="552"/>
                  </a:lnTo>
                  <a:lnTo>
                    <a:pt x="671" y="589"/>
                  </a:lnTo>
                  <a:lnTo>
                    <a:pt x="649" y="622"/>
                  </a:lnTo>
                  <a:lnTo>
                    <a:pt x="624" y="654"/>
                  </a:lnTo>
                  <a:lnTo>
                    <a:pt x="594" y="683"/>
                  </a:lnTo>
                  <a:lnTo>
                    <a:pt x="564" y="709"/>
                  </a:lnTo>
                  <a:lnTo>
                    <a:pt x="530" y="731"/>
                  </a:lnTo>
                  <a:lnTo>
                    <a:pt x="495" y="749"/>
                  </a:lnTo>
                  <a:lnTo>
                    <a:pt x="457" y="763"/>
                  </a:lnTo>
                  <a:lnTo>
                    <a:pt x="417" y="771"/>
                  </a:lnTo>
                  <a:lnTo>
                    <a:pt x="375" y="773"/>
                  </a:lnTo>
                  <a:lnTo>
                    <a:pt x="334" y="771"/>
                  </a:lnTo>
                  <a:lnTo>
                    <a:pt x="296" y="763"/>
                  </a:lnTo>
                  <a:lnTo>
                    <a:pt x="259" y="749"/>
                  </a:lnTo>
                  <a:lnTo>
                    <a:pt x="223" y="730"/>
                  </a:lnTo>
                  <a:lnTo>
                    <a:pt x="191" y="708"/>
                  </a:lnTo>
                  <a:lnTo>
                    <a:pt x="161" y="683"/>
                  </a:lnTo>
                  <a:lnTo>
                    <a:pt x="132" y="654"/>
                  </a:lnTo>
                  <a:lnTo>
                    <a:pt x="107" y="621"/>
                  </a:lnTo>
                  <a:lnTo>
                    <a:pt x="85" y="588"/>
                  </a:lnTo>
                  <a:lnTo>
                    <a:pt x="66" y="551"/>
                  </a:lnTo>
                  <a:lnTo>
                    <a:pt x="51" y="514"/>
                  </a:lnTo>
                  <a:lnTo>
                    <a:pt x="38" y="476"/>
                  </a:lnTo>
                  <a:lnTo>
                    <a:pt x="26" y="474"/>
                  </a:lnTo>
                  <a:lnTo>
                    <a:pt x="16" y="466"/>
                  </a:lnTo>
                  <a:lnTo>
                    <a:pt x="9" y="457"/>
                  </a:lnTo>
                  <a:lnTo>
                    <a:pt x="5" y="445"/>
                  </a:lnTo>
                  <a:lnTo>
                    <a:pt x="0" y="385"/>
                  </a:lnTo>
                  <a:lnTo>
                    <a:pt x="1" y="372"/>
                  </a:lnTo>
                  <a:lnTo>
                    <a:pt x="7" y="361"/>
                  </a:lnTo>
                  <a:lnTo>
                    <a:pt x="16" y="354"/>
                  </a:lnTo>
                  <a:lnTo>
                    <a:pt x="26" y="349"/>
                  </a:lnTo>
                  <a:lnTo>
                    <a:pt x="27" y="338"/>
                  </a:lnTo>
                  <a:lnTo>
                    <a:pt x="26" y="312"/>
                  </a:lnTo>
                  <a:lnTo>
                    <a:pt x="26" y="285"/>
                  </a:lnTo>
                  <a:lnTo>
                    <a:pt x="30" y="258"/>
                  </a:lnTo>
                  <a:lnTo>
                    <a:pt x="35" y="231"/>
                  </a:lnTo>
                  <a:lnTo>
                    <a:pt x="42" y="203"/>
                  </a:lnTo>
                  <a:lnTo>
                    <a:pt x="53" y="177"/>
                  </a:lnTo>
                  <a:lnTo>
                    <a:pt x="65" y="152"/>
                  </a:lnTo>
                  <a:lnTo>
                    <a:pt x="80" y="128"/>
                  </a:lnTo>
                  <a:lnTo>
                    <a:pt x="99" y="107"/>
                  </a:lnTo>
                  <a:lnTo>
                    <a:pt x="120" y="87"/>
                  </a:lnTo>
                  <a:lnTo>
                    <a:pt x="144" y="70"/>
                  </a:lnTo>
                  <a:lnTo>
                    <a:pt x="171" y="56"/>
                  </a:lnTo>
                  <a:lnTo>
                    <a:pt x="201" y="45"/>
                  </a:lnTo>
                  <a:lnTo>
                    <a:pt x="235" y="39"/>
                  </a:lnTo>
                  <a:lnTo>
                    <a:pt x="242" y="38"/>
                  </a:lnTo>
                  <a:lnTo>
                    <a:pt x="252" y="40"/>
                  </a:lnTo>
                  <a:lnTo>
                    <a:pt x="262" y="41"/>
                  </a:lnTo>
                  <a:lnTo>
                    <a:pt x="271" y="42"/>
                  </a:lnTo>
                  <a:lnTo>
                    <a:pt x="276" y="42"/>
                  </a:lnTo>
                  <a:lnTo>
                    <a:pt x="280" y="39"/>
                  </a:lnTo>
                  <a:lnTo>
                    <a:pt x="285" y="34"/>
                  </a:lnTo>
                  <a:lnTo>
                    <a:pt x="290" y="27"/>
                  </a:lnTo>
                  <a:lnTo>
                    <a:pt x="295" y="22"/>
                  </a:lnTo>
                  <a:lnTo>
                    <a:pt x="299" y="20"/>
                  </a:lnTo>
                  <a:lnTo>
                    <a:pt x="332" y="8"/>
                  </a:lnTo>
                  <a:lnTo>
                    <a:pt x="369" y="2"/>
                  </a:lnTo>
                  <a:lnTo>
                    <a:pt x="4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57"/>
            <p:cNvSpPr>
              <a:spLocks/>
            </p:cNvSpPr>
            <p:nvPr/>
          </p:nvSpPr>
          <p:spPr bwMode="auto">
            <a:xfrm>
              <a:off x="-5" y="1982"/>
              <a:ext cx="34" cy="33"/>
            </a:xfrm>
            <a:custGeom>
              <a:avLst/>
              <a:gdLst>
                <a:gd name="T0" fmla="*/ 224 w 408"/>
                <a:gd name="T1" fmla="*/ 0 h 394"/>
                <a:gd name="T2" fmla="*/ 230 w 408"/>
                <a:gd name="T3" fmla="*/ 0 h 394"/>
                <a:gd name="T4" fmla="*/ 254 w 408"/>
                <a:gd name="T5" fmla="*/ 6 h 394"/>
                <a:gd name="T6" fmla="*/ 277 w 408"/>
                <a:gd name="T7" fmla="*/ 18 h 394"/>
                <a:gd name="T8" fmla="*/ 298 w 408"/>
                <a:gd name="T9" fmla="*/ 33 h 394"/>
                <a:gd name="T10" fmla="*/ 317 w 408"/>
                <a:gd name="T11" fmla="*/ 53 h 394"/>
                <a:gd name="T12" fmla="*/ 333 w 408"/>
                <a:gd name="T13" fmla="*/ 75 h 394"/>
                <a:gd name="T14" fmla="*/ 347 w 408"/>
                <a:gd name="T15" fmla="*/ 100 h 394"/>
                <a:gd name="T16" fmla="*/ 361 w 408"/>
                <a:gd name="T17" fmla="*/ 127 h 394"/>
                <a:gd name="T18" fmla="*/ 373 w 408"/>
                <a:gd name="T19" fmla="*/ 156 h 394"/>
                <a:gd name="T20" fmla="*/ 382 w 408"/>
                <a:gd name="T21" fmla="*/ 187 h 394"/>
                <a:gd name="T22" fmla="*/ 390 w 408"/>
                <a:gd name="T23" fmla="*/ 217 h 394"/>
                <a:gd name="T24" fmla="*/ 398 w 408"/>
                <a:gd name="T25" fmla="*/ 247 h 394"/>
                <a:gd name="T26" fmla="*/ 404 w 408"/>
                <a:gd name="T27" fmla="*/ 278 h 394"/>
                <a:gd name="T28" fmla="*/ 408 w 408"/>
                <a:gd name="T29" fmla="*/ 306 h 394"/>
                <a:gd name="T30" fmla="*/ 407 w 408"/>
                <a:gd name="T31" fmla="*/ 306 h 394"/>
                <a:gd name="T32" fmla="*/ 405 w 408"/>
                <a:gd name="T33" fmla="*/ 305 h 394"/>
                <a:gd name="T34" fmla="*/ 394 w 408"/>
                <a:gd name="T35" fmla="*/ 304 h 394"/>
                <a:gd name="T36" fmla="*/ 383 w 408"/>
                <a:gd name="T37" fmla="*/ 303 h 394"/>
                <a:gd name="T38" fmla="*/ 376 w 408"/>
                <a:gd name="T39" fmla="*/ 303 h 394"/>
                <a:gd name="T40" fmla="*/ 341 w 408"/>
                <a:gd name="T41" fmla="*/ 310 h 394"/>
                <a:gd name="T42" fmla="*/ 310 w 408"/>
                <a:gd name="T43" fmla="*/ 321 h 394"/>
                <a:gd name="T44" fmla="*/ 281 w 408"/>
                <a:gd name="T45" fmla="*/ 335 h 394"/>
                <a:gd name="T46" fmla="*/ 256 w 408"/>
                <a:gd name="T47" fmla="*/ 352 h 394"/>
                <a:gd name="T48" fmla="*/ 234 w 408"/>
                <a:gd name="T49" fmla="*/ 372 h 394"/>
                <a:gd name="T50" fmla="*/ 214 w 408"/>
                <a:gd name="T51" fmla="*/ 394 h 394"/>
                <a:gd name="T52" fmla="*/ 213 w 408"/>
                <a:gd name="T53" fmla="*/ 366 h 394"/>
                <a:gd name="T54" fmla="*/ 211 w 408"/>
                <a:gd name="T55" fmla="*/ 337 h 394"/>
                <a:gd name="T56" fmla="*/ 208 w 408"/>
                <a:gd name="T57" fmla="*/ 310 h 394"/>
                <a:gd name="T58" fmla="*/ 203 w 408"/>
                <a:gd name="T59" fmla="*/ 283 h 394"/>
                <a:gd name="T60" fmla="*/ 196 w 408"/>
                <a:gd name="T61" fmla="*/ 256 h 394"/>
                <a:gd name="T62" fmla="*/ 185 w 408"/>
                <a:gd name="T63" fmla="*/ 232 h 394"/>
                <a:gd name="T64" fmla="*/ 174 w 408"/>
                <a:gd name="T65" fmla="*/ 208 h 394"/>
                <a:gd name="T66" fmla="*/ 158 w 408"/>
                <a:gd name="T67" fmla="*/ 187 h 394"/>
                <a:gd name="T68" fmla="*/ 139 w 408"/>
                <a:gd name="T69" fmla="*/ 168 h 394"/>
                <a:gd name="T70" fmla="*/ 117 w 408"/>
                <a:gd name="T71" fmla="*/ 151 h 394"/>
                <a:gd name="T72" fmla="*/ 91 w 408"/>
                <a:gd name="T73" fmla="*/ 137 h 394"/>
                <a:gd name="T74" fmla="*/ 60 w 408"/>
                <a:gd name="T75" fmla="*/ 126 h 394"/>
                <a:gd name="T76" fmla="*/ 30 w 408"/>
                <a:gd name="T77" fmla="*/ 117 h 394"/>
                <a:gd name="T78" fmla="*/ 0 w 408"/>
                <a:gd name="T79" fmla="*/ 111 h 394"/>
                <a:gd name="T80" fmla="*/ 46 w 408"/>
                <a:gd name="T81" fmla="*/ 73 h 394"/>
                <a:gd name="T82" fmla="*/ 46 w 408"/>
                <a:gd name="T83" fmla="*/ 73 h 394"/>
                <a:gd name="T84" fmla="*/ 46 w 408"/>
                <a:gd name="T85" fmla="*/ 73 h 394"/>
                <a:gd name="T86" fmla="*/ 119 w 408"/>
                <a:gd name="T87" fmla="*/ 131 h 394"/>
                <a:gd name="T88" fmla="*/ 213 w 408"/>
                <a:gd name="T89" fmla="*/ 2 h 394"/>
                <a:gd name="T90" fmla="*/ 219 w 408"/>
                <a:gd name="T91" fmla="*/ 0 h 394"/>
                <a:gd name="T92" fmla="*/ 224 w 408"/>
                <a:gd name="T93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8" h="394">
                  <a:moveTo>
                    <a:pt x="224" y="0"/>
                  </a:moveTo>
                  <a:lnTo>
                    <a:pt x="230" y="0"/>
                  </a:lnTo>
                  <a:lnTo>
                    <a:pt x="254" y="6"/>
                  </a:lnTo>
                  <a:lnTo>
                    <a:pt x="277" y="18"/>
                  </a:lnTo>
                  <a:lnTo>
                    <a:pt x="298" y="33"/>
                  </a:lnTo>
                  <a:lnTo>
                    <a:pt x="317" y="53"/>
                  </a:lnTo>
                  <a:lnTo>
                    <a:pt x="333" y="75"/>
                  </a:lnTo>
                  <a:lnTo>
                    <a:pt x="347" y="100"/>
                  </a:lnTo>
                  <a:lnTo>
                    <a:pt x="361" y="127"/>
                  </a:lnTo>
                  <a:lnTo>
                    <a:pt x="373" y="156"/>
                  </a:lnTo>
                  <a:lnTo>
                    <a:pt x="382" y="187"/>
                  </a:lnTo>
                  <a:lnTo>
                    <a:pt x="390" y="217"/>
                  </a:lnTo>
                  <a:lnTo>
                    <a:pt x="398" y="247"/>
                  </a:lnTo>
                  <a:lnTo>
                    <a:pt x="404" y="278"/>
                  </a:lnTo>
                  <a:lnTo>
                    <a:pt x="408" y="306"/>
                  </a:lnTo>
                  <a:lnTo>
                    <a:pt x="407" y="306"/>
                  </a:lnTo>
                  <a:lnTo>
                    <a:pt x="405" y="305"/>
                  </a:lnTo>
                  <a:lnTo>
                    <a:pt x="394" y="304"/>
                  </a:lnTo>
                  <a:lnTo>
                    <a:pt x="383" y="303"/>
                  </a:lnTo>
                  <a:lnTo>
                    <a:pt x="376" y="303"/>
                  </a:lnTo>
                  <a:lnTo>
                    <a:pt x="341" y="310"/>
                  </a:lnTo>
                  <a:lnTo>
                    <a:pt x="310" y="321"/>
                  </a:lnTo>
                  <a:lnTo>
                    <a:pt x="281" y="335"/>
                  </a:lnTo>
                  <a:lnTo>
                    <a:pt x="256" y="352"/>
                  </a:lnTo>
                  <a:lnTo>
                    <a:pt x="234" y="372"/>
                  </a:lnTo>
                  <a:lnTo>
                    <a:pt x="214" y="394"/>
                  </a:lnTo>
                  <a:lnTo>
                    <a:pt x="213" y="366"/>
                  </a:lnTo>
                  <a:lnTo>
                    <a:pt x="211" y="337"/>
                  </a:lnTo>
                  <a:lnTo>
                    <a:pt x="208" y="310"/>
                  </a:lnTo>
                  <a:lnTo>
                    <a:pt x="203" y="283"/>
                  </a:lnTo>
                  <a:lnTo>
                    <a:pt x="196" y="256"/>
                  </a:lnTo>
                  <a:lnTo>
                    <a:pt x="185" y="232"/>
                  </a:lnTo>
                  <a:lnTo>
                    <a:pt x="174" y="208"/>
                  </a:lnTo>
                  <a:lnTo>
                    <a:pt x="158" y="187"/>
                  </a:lnTo>
                  <a:lnTo>
                    <a:pt x="139" y="168"/>
                  </a:lnTo>
                  <a:lnTo>
                    <a:pt x="117" y="151"/>
                  </a:lnTo>
                  <a:lnTo>
                    <a:pt x="91" y="137"/>
                  </a:lnTo>
                  <a:lnTo>
                    <a:pt x="60" y="126"/>
                  </a:lnTo>
                  <a:lnTo>
                    <a:pt x="30" y="117"/>
                  </a:lnTo>
                  <a:lnTo>
                    <a:pt x="0" y="111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119" y="131"/>
                  </a:lnTo>
                  <a:lnTo>
                    <a:pt x="213" y="2"/>
                  </a:lnTo>
                  <a:lnTo>
                    <a:pt x="219" y="0"/>
                  </a:lnTo>
                  <a:lnTo>
                    <a:pt x="22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58"/>
            <p:cNvSpPr>
              <a:spLocks/>
            </p:cNvSpPr>
            <p:nvPr/>
          </p:nvSpPr>
          <p:spPr bwMode="auto">
            <a:xfrm>
              <a:off x="43" y="1982"/>
              <a:ext cx="55" cy="31"/>
            </a:xfrm>
            <a:custGeom>
              <a:avLst/>
              <a:gdLst>
                <a:gd name="T0" fmla="*/ 539 w 664"/>
                <a:gd name="T1" fmla="*/ 0 h 369"/>
                <a:gd name="T2" fmla="*/ 585 w 664"/>
                <a:gd name="T3" fmla="*/ 16 h 369"/>
                <a:gd name="T4" fmla="*/ 621 w 664"/>
                <a:gd name="T5" fmla="*/ 46 h 369"/>
                <a:gd name="T6" fmla="*/ 652 w 664"/>
                <a:gd name="T7" fmla="*/ 89 h 369"/>
                <a:gd name="T8" fmla="*/ 625 w 664"/>
                <a:gd name="T9" fmla="*/ 107 h 369"/>
                <a:gd name="T10" fmla="*/ 551 w 664"/>
                <a:gd name="T11" fmla="*/ 105 h 369"/>
                <a:gd name="T12" fmla="*/ 483 w 664"/>
                <a:gd name="T13" fmla="*/ 121 h 369"/>
                <a:gd name="T14" fmla="*/ 466 w 664"/>
                <a:gd name="T15" fmla="*/ 135 h 369"/>
                <a:gd name="T16" fmla="*/ 464 w 664"/>
                <a:gd name="T17" fmla="*/ 137 h 369"/>
                <a:gd name="T18" fmla="*/ 460 w 664"/>
                <a:gd name="T19" fmla="*/ 136 h 369"/>
                <a:gd name="T20" fmla="*/ 441 w 664"/>
                <a:gd name="T21" fmla="*/ 134 h 369"/>
                <a:gd name="T22" fmla="*/ 403 w 664"/>
                <a:gd name="T23" fmla="*/ 142 h 369"/>
                <a:gd name="T24" fmla="*/ 351 w 664"/>
                <a:gd name="T25" fmla="*/ 165 h 369"/>
                <a:gd name="T26" fmla="*/ 309 w 664"/>
                <a:gd name="T27" fmla="*/ 199 h 369"/>
                <a:gd name="T28" fmla="*/ 279 w 664"/>
                <a:gd name="T29" fmla="*/ 242 h 369"/>
                <a:gd name="T30" fmla="*/ 260 w 664"/>
                <a:gd name="T31" fmla="*/ 291 h 369"/>
                <a:gd name="T32" fmla="*/ 250 w 664"/>
                <a:gd name="T33" fmla="*/ 343 h 369"/>
                <a:gd name="T34" fmla="*/ 233 w 664"/>
                <a:gd name="T35" fmla="*/ 350 h 369"/>
                <a:gd name="T36" fmla="*/ 192 w 664"/>
                <a:gd name="T37" fmla="*/ 319 h 369"/>
                <a:gd name="T38" fmla="*/ 124 w 664"/>
                <a:gd name="T39" fmla="*/ 290 h 369"/>
                <a:gd name="T40" fmla="*/ 40 w 664"/>
                <a:gd name="T41" fmla="*/ 270 h 369"/>
                <a:gd name="T42" fmla="*/ 6 w 664"/>
                <a:gd name="T43" fmla="*/ 237 h 369"/>
                <a:gd name="T44" fmla="*/ 22 w 664"/>
                <a:gd name="T45" fmla="*/ 178 h 369"/>
                <a:gd name="T46" fmla="*/ 43 w 664"/>
                <a:gd name="T47" fmla="*/ 122 h 369"/>
                <a:gd name="T48" fmla="*/ 71 w 664"/>
                <a:gd name="T49" fmla="*/ 71 h 369"/>
                <a:gd name="T50" fmla="*/ 106 w 664"/>
                <a:gd name="T51" fmla="*/ 32 h 369"/>
                <a:gd name="T52" fmla="*/ 148 w 664"/>
                <a:gd name="T53" fmla="*/ 6 h 369"/>
                <a:gd name="T54" fmla="*/ 178 w 664"/>
                <a:gd name="T55" fmla="*/ 0 h 369"/>
                <a:gd name="T56" fmla="*/ 187 w 664"/>
                <a:gd name="T57" fmla="*/ 2 h 369"/>
                <a:gd name="T58" fmla="*/ 355 w 664"/>
                <a:gd name="T59" fmla="*/ 73 h 369"/>
                <a:gd name="T60" fmla="*/ 355 w 664"/>
                <a:gd name="T61" fmla="*/ 73 h 369"/>
                <a:gd name="T62" fmla="*/ 428 w 664"/>
                <a:gd name="T63" fmla="*/ 131 h 369"/>
                <a:gd name="T64" fmla="*/ 528 w 664"/>
                <a:gd name="T65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64" h="369">
                  <a:moveTo>
                    <a:pt x="533" y="0"/>
                  </a:moveTo>
                  <a:lnTo>
                    <a:pt x="539" y="0"/>
                  </a:lnTo>
                  <a:lnTo>
                    <a:pt x="563" y="5"/>
                  </a:lnTo>
                  <a:lnTo>
                    <a:pt x="585" y="16"/>
                  </a:lnTo>
                  <a:lnTo>
                    <a:pt x="603" y="29"/>
                  </a:lnTo>
                  <a:lnTo>
                    <a:pt x="621" y="46"/>
                  </a:lnTo>
                  <a:lnTo>
                    <a:pt x="637" y="67"/>
                  </a:lnTo>
                  <a:lnTo>
                    <a:pt x="652" y="89"/>
                  </a:lnTo>
                  <a:lnTo>
                    <a:pt x="664" y="114"/>
                  </a:lnTo>
                  <a:lnTo>
                    <a:pt x="625" y="107"/>
                  </a:lnTo>
                  <a:lnTo>
                    <a:pt x="588" y="104"/>
                  </a:lnTo>
                  <a:lnTo>
                    <a:pt x="551" y="105"/>
                  </a:lnTo>
                  <a:lnTo>
                    <a:pt x="515" y="110"/>
                  </a:lnTo>
                  <a:lnTo>
                    <a:pt x="483" y="121"/>
                  </a:lnTo>
                  <a:lnTo>
                    <a:pt x="475" y="126"/>
                  </a:lnTo>
                  <a:lnTo>
                    <a:pt x="466" y="135"/>
                  </a:lnTo>
                  <a:lnTo>
                    <a:pt x="465" y="136"/>
                  </a:lnTo>
                  <a:lnTo>
                    <a:pt x="464" y="137"/>
                  </a:lnTo>
                  <a:lnTo>
                    <a:pt x="462" y="136"/>
                  </a:lnTo>
                  <a:lnTo>
                    <a:pt x="460" y="136"/>
                  </a:lnTo>
                  <a:lnTo>
                    <a:pt x="450" y="134"/>
                  </a:lnTo>
                  <a:lnTo>
                    <a:pt x="441" y="134"/>
                  </a:lnTo>
                  <a:lnTo>
                    <a:pt x="435" y="134"/>
                  </a:lnTo>
                  <a:lnTo>
                    <a:pt x="403" y="142"/>
                  </a:lnTo>
                  <a:lnTo>
                    <a:pt x="375" y="151"/>
                  </a:lnTo>
                  <a:lnTo>
                    <a:pt x="351" y="165"/>
                  </a:lnTo>
                  <a:lnTo>
                    <a:pt x="328" y="180"/>
                  </a:lnTo>
                  <a:lnTo>
                    <a:pt x="309" y="199"/>
                  </a:lnTo>
                  <a:lnTo>
                    <a:pt x="292" y="220"/>
                  </a:lnTo>
                  <a:lnTo>
                    <a:pt x="279" y="242"/>
                  </a:lnTo>
                  <a:lnTo>
                    <a:pt x="268" y="266"/>
                  </a:lnTo>
                  <a:lnTo>
                    <a:pt x="260" y="291"/>
                  </a:lnTo>
                  <a:lnTo>
                    <a:pt x="253" y="317"/>
                  </a:lnTo>
                  <a:lnTo>
                    <a:pt x="250" y="343"/>
                  </a:lnTo>
                  <a:lnTo>
                    <a:pt x="249" y="369"/>
                  </a:lnTo>
                  <a:lnTo>
                    <a:pt x="233" y="350"/>
                  </a:lnTo>
                  <a:lnTo>
                    <a:pt x="214" y="333"/>
                  </a:lnTo>
                  <a:lnTo>
                    <a:pt x="192" y="319"/>
                  </a:lnTo>
                  <a:lnTo>
                    <a:pt x="167" y="306"/>
                  </a:lnTo>
                  <a:lnTo>
                    <a:pt x="124" y="290"/>
                  </a:lnTo>
                  <a:lnTo>
                    <a:pt x="82" y="279"/>
                  </a:lnTo>
                  <a:lnTo>
                    <a:pt x="40" y="270"/>
                  </a:lnTo>
                  <a:lnTo>
                    <a:pt x="0" y="266"/>
                  </a:lnTo>
                  <a:lnTo>
                    <a:pt x="6" y="237"/>
                  </a:lnTo>
                  <a:lnTo>
                    <a:pt x="14" y="208"/>
                  </a:lnTo>
                  <a:lnTo>
                    <a:pt x="22" y="178"/>
                  </a:lnTo>
                  <a:lnTo>
                    <a:pt x="31" y="149"/>
                  </a:lnTo>
                  <a:lnTo>
                    <a:pt x="43" y="122"/>
                  </a:lnTo>
                  <a:lnTo>
                    <a:pt x="57" y="95"/>
                  </a:lnTo>
                  <a:lnTo>
                    <a:pt x="71" y="71"/>
                  </a:lnTo>
                  <a:lnTo>
                    <a:pt x="87" y="50"/>
                  </a:lnTo>
                  <a:lnTo>
                    <a:pt x="106" y="32"/>
                  </a:lnTo>
                  <a:lnTo>
                    <a:pt x="126" y="18"/>
                  </a:lnTo>
                  <a:lnTo>
                    <a:pt x="148" y="6"/>
                  </a:lnTo>
                  <a:lnTo>
                    <a:pt x="172" y="1"/>
                  </a:lnTo>
                  <a:lnTo>
                    <a:pt x="178" y="0"/>
                  </a:lnTo>
                  <a:lnTo>
                    <a:pt x="183" y="1"/>
                  </a:lnTo>
                  <a:lnTo>
                    <a:pt x="187" y="2"/>
                  </a:lnTo>
                  <a:lnTo>
                    <a:pt x="283" y="132"/>
                  </a:lnTo>
                  <a:lnTo>
                    <a:pt x="355" y="73"/>
                  </a:lnTo>
                  <a:lnTo>
                    <a:pt x="355" y="73"/>
                  </a:lnTo>
                  <a:lnTo>
                    <a:pt x="355" y="73"/>
                  </a:lnTo>
                  <a:lnTo>
                    <a:pt x="356" y="73"/>
                  </a:lnTo>
                  <a:lnTo>
                    <a:pt x="428" y="131"/>
                  </a:lnTo>
                  <a:lnTo>
                    <a:pt x="524" y="2"/>
                  </a:lnTo>
                  <a:lnTo>
                    <a:pt x="528" y="0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59"/>
            <p:cNvSpPr>
              <a:spLocks/>
            </p:cNvSpPr>
            <p:nvPr/>
          </p:nvSpPr>
          <p:spPr bwMode="auto">
            <a:xfrm>
              <a:off x="-8" y="2065"/>
              <a:ext cx="92" cy="53"/>
            </a:xfrm>
            <a:custGeom>
              <a:avLst/>
              <a:gdLst>
                <a:gd name="T0" fmla="*/ 802 w 1094"/>
                <a:gd name="T1" fmla="*/ 0 h 631"/>
                <a:gd name="T2" fmla="*/ 814 w 1094"/>
                <a:gd name="T3" fmla="*/ 0 h 631"/>
                <a:gd name="T4" fmla="*/ 846 w 1094"/>
                <a:gd name="T5" fmla="*/ 7 h 631"/>
                <a:gd name="T6" fmla="*/ 875 w 1094"/>
                <a:gd name="T7" fmla="*/ 21 h 631"/>
                <a:gd name="T8" fmla="*/ 902 w 1094"/>
                <a:gd name="T9" fmla="*/ 37 h 631"/>
                <a:gd name="T10" fmla="*/ 926 w 1094"/>
                <a:gd name="T11" fmla="*/ 59 h 631"/>
                <a:gd name="T12" fmla="*/ 948 w 1094"/>
                <a:gd name="T13" fmla="*/ 86 h 631"/>
                <a:gd name="T14" fmla="*/ 969 w 1094"/>
                <a:gd name="T15" fmla="*/ 114 h 631"/>
                <a:gd name="T16" fmla="*/ 987 w 1094"/>
                <a:gd name="T17" fmla="*/ 145 h 631"/>
                <a:gd name="T18" fmla="*/ 1004 w 1094"/>
                <a:gd name="T19" fmla="*/ 180 h 631"/>
                <a:gd name="T20" fmla="*/ 1019 w 1094"/>
                <a:gd name="T21" fmla="*/ 215 h 631"/>
                <a:gd name="T22" fmla="*/ 1031 w 1094"/>
                <a:gd name="T23" fmla="*/ 252 h 631"/>
                <a:gd name="T24" fmla="*/ 1043 w 1094"/>
                <a:gd name="T25" fmla="*/ 291 h 631"/>
                <a:gd name="T26" fmla="*/ 1052 w 1094"/>
                <a:gd name="T27" fmla="*/ 329 h 631"/>
                <a:gd name="T28" fmla="*/ 1062 w 1094"/>
                <a:gd name="T29" fmla="*/ 366 h 631"/>
                <a:gd name="T30" fmla="*/ 1069 w 1094"/>
                <a:gd name="T31" fmla="*/ 404 h 631"/>
                <a:gd name="T32" fmla="*/ 1074 w 1094"/>
                <a:gd name="T33" fmla="*/ 441 h 631"/>
                <a:gd name="T34" fmla="*/ 1079 w 1094"/>
                <a:gd name="T35" fmla="*/ 475 h 631"/>
                <a:gd name="T36" fmla="*/ 1084 w 1094"/>
                <a:gd name="T37" fmla="*/ 507 h 631"/>
                <a:gd name="T38" fmla="*/ 1087 w 1094"/>
                <a:gd name="T39" fmla="*/ 537 h 631"/>
                <a:gd name="T40" fmla="*/ 1090 w 1094"/>
                <a:gd name="T41" fmla="*/ 563 h 631"/>
                <a:gd name="T42" fmla="*/ 1091 w 1094"/>
                <a:gd name="T43" fmla="*/ 585 h 631"/>
                <a:gd name="T44" fmla="*/ 1092 w 1094"/>
                <a:gd name="T45" fmla="*/ 604 h 631"/>
                <a:gd name="T46" fmla="*/ 1093 w 1094"/>
                <a:gd name="T47" fmla="*/ 618 h 631"/>
                <a:gd name="T48" fmla="*/ 1094 w 1094"/>
                <a:gd name="T49" fmla="*/ 627 h 631"/>
                <a:gd name="T50" fmla="*/ 1094 w 1094"/>
                <a:gd name="T51" fmla="*/ 630 h 631"/>
                <a:gd name="T52" fmla="*/ 547 w 1094"/>
                <a:gd name="T53" fmla="*/ 630 h 631"/>
                <a:gd name="T54" fmla="*/ 547 w 1094"/>
                <a:gd name="T55" fmla="*/ 631 h 631"/>
                <a:gd name="T56" fmla="*/ 0 w 1094"/>
                <a:gd name="T57" fmla="*/ 630 h 631"/>
                <a:gd name="T58" fmla="*/ 0 w 1094"/>
                <a:gd name="T59" fmla="*/ 627 h 631"/>
                <a:gd name="T60" fmla="*/ 0 w 1094"/>
                <a:gd name="T61" fmla="*/ 619 h 631"/>
                <a:gd name="T62" fmla="*/ 1 w 1094"/>
                <a:gd name="T63" fmla="*/ 605 h 631"/>
                <a:gd name="T64" fmla="*/ 2 w 1094"/>
                <a:gd name="T65" fmla="*/ 586 h 631"/>
                <a:gd name="T66" fmla="*/ 5 w 1094"/>
                <a:gd name="T67" fmla="*/ 564 h 631"/>
                <a:gd name="T68" fmla="*/ 7 w 1094"/>
                <a:gd name="T69" fmla="*/ 537 h 631"/>
                <a:gd name="T70" fmla="*/ 10 w 1094"/>
                <a:gd name="T71" fmla="*/ 508 h 631"/>
                <a:gd name="T72" fmla="*/ 14 w 1094"/>
                <a:gd name="T73" fmla="*/ 475 h 631"/>
                <a:gd name="T74" fmla="*/ 19 w 1094"/>
                <a:gd name="T75" fmla="*/ 441 h 631"/>
                <a:gd name="T76" fmla="*/ 26 w 1094"/>
                <a:gd name="T77" fmla="*/ 405 h 631"/>
                <a:gd name="T78" fmla="*/ 33 w 1094"/>
                <a:gd name="T79" fmla="*/ 367 h 631"/>
                <a:gd name="T80" fmla="*/ 41 w 1094"/>
                <a:gd name="T81" fmla="*/ 330 h 631"/>
                <a:gd name="T82" fmla="*/ 52 w 1094"/>
                <a:gd name="T83" fmla="*/ 291 h 631"/>
                <a:gd name="T84" fmla="*/ 62 w 1094"/>
                <a:gd name="T85" fmla="*/ 253 h 631"/>
                <a:gd name="T86" fmla="*/ 76 w 1094"/>
                <a:gd name="T87" fmla="*/ 217 h 631"/>
                <a:gd name="T88" fmla="*/ 90 w 1094"/>
                <a:gd name="T89" fmla="*/ 181 h 631"/>
                <a:gd name="T90" fmla="*/ 106 w 1094"/>
                <a:gd name="T91" fmla="*/ 146 h 631"/>
                <a:gd name="T92" fmla="*/ 125 w 1094"/>
                <a:gd name="T93" fmla="*/ 115 h 631"/>
                <a:gd name="T94" fmla="*/ 145 w 1094"/>
                <a:gd name="T95" fmla="*/ 86 h 631"/>
                <a:gd name="T96" fmla="*/ 167 w 1094"/>
                <a:gd name="T97" fmla="*/ 60 h 631"/>
                <a:gd name="T98" fmla="*/ 192 w 1094"/>
                <a:gd name="T99" fmla="*/ 38 h 631"/>
                <a:gd name="T100" fmla="*/ 218 w 1094"/>
                <a:gd name="T101" fmla="*/ 21 h 631"/>
                <a:gd name="T102" fmla="*/ 248 w 1094"/>
                <a:gd name="T103" fmla="*/ 8 h 631"/>
                <a:gd name="T104" fmla="*/ 279 w 1094"/>
                <a:gd name="T105" fmla="*/ 1 h 631"/>
                <a:gd name="T106" fmla="*/ 292 w 1094"/>
                <a:gd name="T107" fmla="*/ 1 h 631"/>
                <a:gd name="T108" fmla="*/ 302 w 1094"/>
                <a:gd name="T109" fmla="*/ 4 h 631"/>
                <a:gd name="T110" fmla="*/ 441 w 1094"/>
                <a:gd name="T111" fmla="*/ 191 h 631"/>
                <a:gd name="T112" fmla="*/ 547 w 1094"/>
                <a:gd name="T113" fmla="*/ 108 h 631"/>
                <a:gd name="T114" fmla="*/ 547 w 1094"/>
                <a:gd name="T115" fmla="*/ 107 h 631"/>
                <a:gd name="T116" fmla="*/ 547 w 1094"/>
                <a:gd name="T117" fmla="*/ 107 h 631"/>
                <a:gd name="T118" fmla="*/ 653 w 1094"/>
                <a:gd name="T119" fmla="*/ 190 h 631"/>
                <a:gd name="T120" fmla="*/ 791 w 1094"/>
                <a:gd name="T121" fmla="*/ 3 h 631"/>
                <a:gd name="T122" fmla="*/ 802 w 1094"/>
                <a:gd name="T123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4" h="631">
                  <a:moveTo>
                    <a:pt x="802" y="0"/>
                  </a:moveTo>
                  <a:lnTo>
                    <a:pt x="814" y="0"/>
                  </a:lnTo>
                  <a:lnTo>
                    <a:pt x="846" y="7"/>
                  </a:lnTo>
                  <a:lnTo>
                    <a:pt x="875" y="21"/>
                  </a:lnTo>
                  <a:lnTo>
                    <a:pt x="902" y="37"/>
                  </a:lnTo>
                  <a:lnTo>
                    <a:pt x="926" y="59"/>
                  </a:lnTo>
                  <a:lnTo>
                    <a:pt x="948" y="86"/>
                  </a:lnTo>
                  <a:lnTo>
                    <a:pt x="969" y="114"/>
                  </a:lnTo>
                  <a:lnTo>
                    <a:pt x="987" y="145"/>
                  </a:lnTo>
                  <a:lnTo>
                    <a:pt x="1004" y="180"/>
                  </a:lnTo>
                  <a:lnTo>
                    <a:pt x="1019" y="215"/>
                  </a:lnTo>
                  <a:lnTo>
                    <a:pt x="1031" y="252"/>
                  </a:lnTo>
                  <a:lnTo>
                    <a:pt x="1043" y="291"/>
                  </a:lnTo>
                  <a:lnTo>
                    <a:pt x="1052" y="329"/>
                  </a:lnTo>
                  <a:lnTo>
                    <a:pt x="1062" y="366"/>
                  </a:lnTo>
                  <a:lnTo>
                    <a:pt x="1069" y="404"/>
                  </a:lnTo>
                  <a:lnTo>
                    <a:pt x="1074" y="441"/>
                  </a:lnTo>
                  <a:lnTo>
                    <a:pt x="1079" y="475"/>
                  </a:lnTo>
                  <a:lnTo>
                    <a:pt x="1084" y="507"/>
                  </a:lnTo>
                  <a:lnTo>
                    <a:pt x="1087" y="537"/>
                  </a:lnTo>
                  <a:lnTo>
                    <a:pt x="1090" y="563"/>
                  </a:lnTo>
                  <a:lnTo>
                    <a:pt x="1091" y="585"/>
                  </a:lnTo>
                  <a:lnTo>
                    <a:pt x="1092" y="604"/>
                  </a:lnTo>
                  <a:lnTo>
                    <a:pt x="1093" y="618"/>
                  </a:lnTo>
                  <a:lnTo>
                    <a:pt x="1094" y="627"/>
                  </a:lnTo>
                  <a:lnTo>
                    <a:pt x="1094" y="630"/>
                  </a:lnTo>
                  <a:lnTo>
                    <a:pt x="547" y="630"/>
                  </a:lnTo>
                  <a:lnTo>
                    <a:pt x="547" y="631"/>
                  </a:lnTo>
                  <a:lnTo>
                    <a:pt x="0" y="630"/>
                  </a:lnTo>
                  <a:lnTo>
                    <a:pt x="0" y="627"/>
                  </a:lnTo>
                  <a:lnTo>
                    <a:pt x="0" y="619"/>
                  </a:lnTo>
                  <a:lnTo>
                    <a:pt x="1" y="605"/>
                  </a:lnTo>
                  <a:lnTo>
                    <a:pt x="2" y="586"/>
                  </a:lnTo>
                  <a:lnTo>
                    <a:pt x="5" y="564"/>
                  </a:lnTo>
                  <a:lnTo>
                    <a:pt x="7" y="537"/>
                  </a:lnTo>
                  <a:lnTo>
                    <a:pt x="10" y="508"/>
                  </a:lnTo>
                  <a:lnTo>
                    <a:pt x="14" y="475"/>
                  </a:lnTo>
                  <a:lnTo>
                    <a:pt x="19" y="441"/>
                  </a:lnTo>
                  <a:lnTo>
                    <a:pt x="26" y="405"/>
                  </a:lnTo>
                  <a:lnTo>
                    <a:pt x="33" y="367"/>
                  </a:lnTo>
                  <a:lnTo>
                    <a:pt x="41" y="330"/>
                  </a:lnTo>
                  <a:lnTo>
                    <a:pt x="52" y="291"/>
                  </a:lnTo>
                  <a:lnTo>
                    <a:pt x="62" y="253"/>
                  </a:lnTo>
                  <a:lnTo>
                    <a:pt x="76" y="217"/>
                  </a:lnTo>
                  <a:lnTo>
                    <a:pt x="90" y="181"/>
                  </a:lnTo>
                  <a:lnTo>
                    <a:pt x="106" y="146"/>
                  </a:lnTo>
                  <a:lnTo>
                    <a:pt x="125" y="115"/>
                  </a:lnTo>
                  <a:lnTo>
                    <a:pt x="145" y="86"/>
                  </a:lnTo>
                  <a:lnTo>
                    <a:pt x="167" y="60"/>
                  </a:lnTo>
                  <a:lnTo>
                    <a:pt x="192" y="38"/>
                  </a:lnTo>
                  <a:lnTo>
                    <a:pt x="218" y="21"/>
                  </a:lnTo>
                  <a:lnTo>
                    <a:pt x="248" y="8"/>
                  </a:lnTo>
                  <a:lnTo>
                    <a:pt x="279" y="1"/>
                  </a:lnTo>
                  <a:lnTo>
                    <a:pt x="292" y="1"/>
                  </a:lnTo>
                  <a:lnTo>
                    <a:pt x="302" y="4"/>
                  </a:lnTo>
                  <a:lnTo>
                    <a:pt x="441" y="191"/>
                  </a:lnTo>
                  <a:lnTo>
                    <a:pt x="547" y="108"/>
                  </a:lnTo>
                  <a:lnTo>
                    <a:pt x="547" y="107"/>
                  </a:lnTo>
                  <a:lnTo>
                    <a:pt x="547" y="107"/>
                  </a:lnTo>
                  <a:lnTo>
                    <a:pt x="653" y="190"/>
                  </a:lnTo>
                  <a:lnTo>
                    <a:pt x="791" y="3"/>
                  </a:lnTo>
                  <a:lnTo>
                    <a:pt x="8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60"/>
            <p:cNvSpPr>
              <a:spLocks/>
            </p:cNvSpPr>
            <p:nvPr/>
          </p:nvSpPr>
          <p:spPr bwMode="auto">
            <a:xfrm>
              <a:off x="53" y="2041"/>
              <a:ext cx="73" cy="42"/>
            </a:xfrm>
            <a:custGeom>
              <a:avLst/>
              <a:gdLst>
                <a:gd name="T0" fmla="*/ 672 w 871"/>
                <a:gd name="T1" fmla="*/ 8 h 514"/>
                <a:gd name="T2" fmla="*/ 721 w 871"/>
                <a:gd name="T3" fmla="*/ 36 h 514"/>
                <a:gd name="T4" fmla="*/ 761 w 871"/>
                <a:gd name="T5" fmla="*/ 81 h 514"/>
                <a:gd name="T6" fmla="*/ 794 w 871"/>
                <a:gd name="T7" fmla="*/ 136 h 514"/>
                <a:gd name="T8" fmla="*/ 819 w 871"/>
                <a:gd name="T9" fmla="*/ 200 h 514"/>
                <a:gd name="T10" fmla="*/ 838 w 871"/>
                <a:gd name="T11" fmla="*/ 268 h 514"/>
                <a:gd name="T12" fmla="*/ 851 w 871"/>
                <a:gd name="T13" fmla="*/ 334 h 514"/>
                <a:gd name="T14" fmla="*/ 861 w 871"/>
                <a:gd name="T15" fmla="*/ 396 h 514"/>
                <a:gd name="T16" fmla="*/ 867 w 871"/>
                <a:gd name="T17" fmla="*/ 449 h 514"/>
                <a:gd name="T18" fmla="*/ 870 w 871"/>
                <a:gd name="T19" fmla="*/ 488 h 514"/>
                <a:gd name="T20" fmla="*/ 871 w 871"/>
                <a:gd name="T21" fmla="*/ 509 h 514"/>
                <a:gd name="T22" fmla="*/ 427 w 871"/>
                <a:gd name="T23" fmla="*/ 514 h 514"/>
                <a:gd name="T24" fmla="*/ 308 w 871"/>
                <a:gd name="T25" fmla="*/ 514 h 514"/>
                <a:gd name="T26" fmla="*/ 278 w 871"/>
                <a:gd name="T27" fmla="*/ 445 h 514"/>
                <a:gd name="T28" fmla="*/ 243 w 871"/>
                <a:gd name="T29" fmla="*/ 384 h 514"/>
                <a:gd name="T30" fmla="*/ 199 w 871"/>
                <a:gd name="T31" fmla="*/ 333 h 514"/>
                <a:gd name="T32" fmla="*/ 147 w 871"/>
                <a:gd name="T33" fmla="*/ 297 h 514"/>
                <a:gd name="T34" fmla="*/ 87 w 871"/>
                <a:gd name="T35" fmla="*/ 278 h 514"/>
                <a:gd name="T36" fmla="*/ 61 w 871"/>
                <a:gd name="T37" fmla="*/ 280 h 514"/>
                <a:gd name="T38" fmla="*/ 49 w 871"/>
                <a:gd name="T39" fmla="*/ 284 h 514"/>
                <a:gd name="T40" fmla="*/ 7 w 871"/>
                <a:gd name="T41" fmla="*/ 309 h 514"/>
                <a:gd name="T42" fmla="*/ 72 w 871"/>
                <a:gd name="T43" fmla="*/ 253 h 514"/>
                <a:gd name="T44" fmla="*/ 124 w 871"/>
                <a:gd name="T45" fmla="*/ 185 h 514"/>
                <a:gd name="T46" fmla="*/ 163 w 871"/>
                <a:gd name="T47" fmla="*/ 110 h 514"/>
                <a:gd name="T48" fmla="*/ 189 w 871"/>
                <a:gd name="T49" fmla="*/ 64 h 514"/>
                <a:gd name="T50" fmla="*/ 207 w 871"/>
                <a:gd name="T51" fmla="*/ 42 h 514"/>
                <a:gd name="T52" fmla="*/ 212 w 871"/>
                <a:gd name="T53" fmla="*/ 2 h 514"/>
                <a:gd name="T54" fmla="*/ 221 w 871"/>
                <a:gd name="T55" fmla="*/ 2 h 514"/>
                <a:gd name="T56" fmla="*/ 228 w 871"/>
                <a:gd name="T57" fmla="*/ 3 h 514"/>
                <a:gd name="T58" fmla="*/ 427 w 871"/>
                <a:gd name="T59" fmla="*/ 88 h 514"/>
                <a:gd name="T60" fmla="*/ 427 w 871"/>
                <a:gd name="T61" fmla="*/ 88 h 514"/>
                <a:gd name="T62" fmla="*/ 513 w 871"/>
                <a:gd name="T63" fmla="*/ 156 h 514"/>
                <a:gd name="T64" fmla="*/ 634 w 871"/>
                <a:gd name="T65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71" h="514">
                  <a:moveTo>
                    <a:pt x="645" y="0"/>
                  </a:moveTo>
                  <a:lnTo>
                    <a:pt x="672" y="8"/>
                  </a:lnTo>
                  <a:lnTo>
                    <a:pt x="697" y="19"/>
                  </a:lnTo>
                  <a:lnTo>
                    <a:pt x="721" y="36"/>
                  </a:lnTo>
                  <a:lnTo>
                    <a:pt x="742" y="57"/>
                  </a:lnTo>
                  <a:lnTo>
                    <a:pt x="761" y="81"/>
                  </a:lnTo>
                  <a:lnTo>
                    <a:pt x="778" y="107"/>
                  </a:lnTo>
                  <a:lnTo>
                    <a:pt x="794" y="136"/>
                  </a:lnTo>
                  <a:lnTo>
                    <a:pt x="807" y="168"/>
                  </a:lnTo>
                  <a:lnTo>
                    <a:pt x="819" y="200"/>
                  </a:lnTo>
                  <a:lnTo>
                    <a:pt x="829" y="234"/>
                  </a:lnTo>
                  <a:lnTo>
                    <a:pt x="838" y="268"/>
                  </a:lnTo>
                  <a:lnTo>
                    <a:pt x="845" y="302"/>
                  </a:lnTo>
                  <a:lnTo>
                    <a:pt x="851" y="334"/>
                  </a:lnTo>
                  <a:lnTo>
                    <a:pt x="856" y="367"/>
                  </a:lnTo>
                  <a:lnTo>
                    <a:pt x="861" y="396"/>
                  </a:lnTo>
                  <a:lnTo>
                    <a:pt x="865" y="424"/>
                  </a:lnTo>
                  <a:lnTo>
                    <a:pt x="867" y="449"/>
                  </a:lnTo>
                  <a:lnTo>
                    <a:pt x="869" y="471"/>
                  </a:lnTo>
                  <a:lnTo>
                    <a:pt x="870" y="488"/>
                  </a:lnTo>
                  <a:lnTo>
                    <a:pt x="871" y="501"/>
                  </a:lnTo>
                  <a:lnTo>
                    <a:pt x="871" y="509"/>
                  </a:lnTo>
                  <a:lnTo>
                    <a:pt x="871" y="512"/>
                  </a:lnTo>
                  <a:lnTo>
                    <a:pt x="427" y="514"/>
                  </a:lnTo>
                  <a:lnTo>
                    <a:pt x="427" y="514"/>
                  </a:lnTo>
                  <a:lnTo>
                    <a:pt x="308" y="514"/>
                  </a:lnTo>
                  <a:lnTo>
                    <a:pt x="294" y="479"/>
                  </a:lnTo>
                  <a:lnTo>
                    <a:pt x="278" y="445"/>
                  </a:lnTo>
                  <a:lnTo>
                    <a:pt x="261" y="414"/>
                  </a:lnTo>
                  <a:lnTo>
                    <a:pt x="243" y="384"/>
                  </a:lnTo>
                  <a:lnTo>
                    <a:pt x="222" y="357"/>
                  </a:lnTo>
                  <a:lnTo>
                    <a:pt x="199" y="333"/>
                  </a:lnTo>
                  <a:lnTo>
                    <a:pt x="175" y="313"/>
                  </a:lnTo>
                  <a:lnTo>
                    <a:pt x="147" y="297"/>
                  </a:lnTo>
                  <a:lnTo>
                    <a:pt x="118" y="285"/>
                  </a:lnTo>
                  <a:lnTo>
                    <a:pt x="87" y="278"/>
                  </a:lnTo>
                  <a:lnTo>
                    <a:pt x="73" y="278"/>
                  </a:lnTo>
                  <a:lnTo>
                    <a:pt x="61" y="280"/>
                  </a:lnTo>
                  <a:lnTo>
                    <a:pt x="54" y="282"/>
                  </a:lnTo>
                  <a:lnTo>
                    <a:pt x="49" y="284"/>
                  </a:lnTo>
                  <a:lnTo>
                    <a:pt x="0" y="350"/>
                  </a:lnTo>
                  <a:lnTo>
                    <a:pt x="7" y="309"/>
                  </a:lnTo>
                  <a:lnTo>
                    <a:pt x="41" y="282"/>
                  </a:lnTo>
                  <a:lnTo>
                    <a:pt x="72" y="253"/>
                  </a:lnTo>
                  <a:lnTo>
                    <a:pt x="100" y="220"/>
                  </a:lnTo>
                  <a:lnTo>
                    <a:pt x="124" y="185"/>
                  </a:lnTo>
                  <a:lnTo>
                    <a:pt x="145" y="148"/>
                  </a:lnTo>
                  <a:lnTo>
                    <a:pt x="163" y="110"/>
                  </a:lnTo>
                  <a:lnTo>
                    <a:pt x="177" y="71"/>
                  </a:lnTo>
                  <a:lnTo>
                    <a:pt x="189" y="64"/>
                  </a:lnTo>
                  <a:lnTo>
                    <a:pt x="200" y="55"/>
                  </a:lnTo>
                  <a:lnTo>
                    <a:pt x="207" y="42"/>
                  </a:lnTo>
                  <a:lnTo>
                    <a:pt x="210" y="27"/>
                  </a:lnTo>
                  <a:lnTo>
                    <a:pt x="212" y="2"/>
                  </a:lnTo>
                  <a:lnTo>
                    <a:pt x="216" y="2"/>
                  </a:lnTo>
                  <a:lnTo>
                    <a:pt x="221" y="2"/>
                  </a:lnTo>
                  <a:lnTo>
                    <a:pt x="225" y="2"/>
                  </a:lnTo>
                  <a:lnTo>
                    <a:pt x="228" y="3"/>
                  </a:lnTo>
                  <a:lnTo>
                    <a:pt x="341" y="156"/>
                  </a:lnTo>
                  <a:lnTo>
                    <a:pt x="427" y="88"/>
                  </a:lnTo>
                  <a:lnTo>
                    <a:pt x="427" y="88"/>
                  </a:lnTo>
                  <a:lnTo>
                    <a:pt x="427" y="88"/>
                  </a:lnTo>
                  <a:lnTo>
                    <a:pt x="427" y="87"/>
                  </a:lnTo>
                  <a:lnTo>
                    <a:pt x="513" y="156"/>
                  </a:lnTo>
                  <a:lnTo>
                    <a:pt x="626" y="3"/>
                  </a:lnTo>
                  <a:lnTo>
                    <a:pt x="634" y="0"/>
                  </a:lnTo>
                  <a:lnTo>
                    <a:pt x="6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61"/>
            <p:cNvSpPr>
              <a:spLocks/>
            </p:cNvSpPr>
            <p:nvPr/>
          </p:nvSpPr>
          <p:spPr bwMode="auto">
            <a:xfrm>
              <a:off x="-50" y="2041"/>
              <a:ext cx="73" cy="42"/>
            </a:xfrm>
            <a:custGeom>
              <a:avLst/>
              <a:gdLst>
                <a:gd name="T0" fmla="*/ 664 w 871"/>
                <a:gd name="T1" fmla="*/ 1 h 514"/>
                <a:gd name="T2" fmla="*/ 669 w 871"/>
                <a:gd name="T3" fmla="*/ 25 h 514"/>
                <a:gd name="T4" fmla="*/ 680 w 871"/>
                <a:gd name="T5" fmla="*/ 55 h 514"/>
                <a:gd name="T6" fmla="*/ 705 w 871"/>
                <a:gd name="T7" fmla="*/ 71 h 514"/>
                <a:gd name="T8" fmla="*/ 740 w 871"/>
                <a:gd name="T9" fmla="*/ 157 h 514"/>
                <a:gd name="T10" fmla="*/ 793 w 871"/>
                <a:gd name="T11" fmla="*/ 236 h 514"/>
                <a:gd name="T12" fmla="*/ 862 w 871"/>
                <a:gd name="T13" fmla="*/ 302 h 514"/>
                <a:gd name="T14" fmla="*/ 823 w 871"/>
                <a:gd name="T15" fmla="*/ 285 h 514"/>
                <a:gd name="T16" fmla="*/ 810 w 871"/>
                <a:gd name="T17" fmla="*/ 280 h 514"/>
                <a:gd name="T18" fmla="*/ 786 w 871"/>
                <a:gd name="T19" fmla="*/ 279 h 514"/>
                <a:gd name="T20" fmla="*/ 725 w 871"/>
                <a:gd name="T21" fmla="*/ 298 h 514"/>
                <a:gd name="T22" fmla="*/ 674 w 871"/>
                <a:gd name="T23" fmla="*/ 333 h 514"/>
                <a:gd name="T24" fmla="*/ 630 w 871"/>
                <a:gd name="T25" fmla="*/ 384 h 514"/>
                <a:gd name="T26" fmla="*/ 594 w 871"/>
                <a:gd name="T27" fmla="*/ 444 h 514"/>
                <a:gd name="T28" fmla="*/ 565 w 871"/>
                <a:gd name="T29" fmla="*/ 514 h 514"/>
                <a:gd name="T30" fmla="*/ 444 w 871"/>
                <a:gd name="T31" fmla="*/ 514 h 514"/>
                <a:gd name="T32" fmla="*/ 0 w 871"/>
                <a:gd name="T33" fmla="*/ 510 h 514"/>
                <a:gd name="T34" fmla="*/ 1 w 871"/>
                <a:gd name="T35" fmla="*/ 489 h 514"/>
                <a:gd name="T36" fmla="*/ 4 w 871"/>
                <a:gd name="T37" fmla="*/ 450 h 514"/>
                <a:gd name="T38" fmla="*/ 10 w 871"/>
                <a:gd name="T39" fmla="*/ 397 h 514"/>
                <a:gd name="T40" fmla="*/ 19 w 871"/>
                <a:gd name="T41" fmla="*/ 335 h 514"/>
                <a:gd name="T42" fmla="*/ 33 w 871"/>
                <a:gd name="T43" fmla="*/ 268 h 514"/>
                <a:gd name="T44" fmla="*/ 53 w 871"/>
                <a:gd name="T45" fmla="*/ 201 h 514"/>
                <a:gd name="T46" fmla="*/ 78 w 871"/>
                <a:gd name="T47" fmla="*/ 137 h 514"/>
                <a:gd name="T48" fmla="*/ 110 w 871"/>
                <a:gd name="T49" fmla="*/ 81 h 514"/>
                <a:gd name="T50" fmla="*/ 150 w 871"/>
                <a:gd name="T51" fmla="*/ 37 h 514"/>
                <a:gd name="T52" fmla="*/ 199 w 871"/>
                <a:gd name="T53" fmla="*/ 9 h 514"/>
                <a:gd name="T54" fmla="*/ 237 w 871"/>
                <a:gd name="T55" fmla="*/ 1 h 514"/>
                <a:gd name="T56" fmla="*/ 359 w 871"/>
                <a:gd name="T57" fmla="*/ 156 h 514"/>
                <a:gd name="T58" fmla="*/ 444 w 871"/>
                <a:gd name="T59" fmla="*/ 87 h 514"/>
                <a:gd name="T60" fmla="*/ 643 w 871"/>
                <a:gd name="T61" fmla="*/ 3 h 514"/>
                <a:gd name="T62" fmla="*/ 661 w 871"/>
                <a:gd name="T63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71" h="514">
                  <a:moveTo>
                    <a:pt x="661" y="0"/>
                  </a:moveTo>
                  <a:lnTo>
                    <a:pt x="664" y="1"/>
                  </a:lnTo>
                  <a:lnTo>
                    <a:pt x="667" y="2"/>
                  </a:lnTo>
                  <a:lnTo>
                    <a:pt x="669" y="25"/>
                  </a:lnTo>
                  <a:lnTo>
                    <a:pt x="672" y="41"/>
                  </a:lnTo>
                  <a:lnTo>
                    <a:pt x="680" y="55"/>
                  </a:lnTo>
                  <a:lnTo>
                    <a:pt x="691" y="64"/>
                  </a:lnTo>
                  <a:lnTo>
                    <a:pt x="705" y="71"/>
                  </a:lnTo>
                  <a:lnTo>
                    <a:pt x="720" y="114"/>
                  </a:lnTo>
                  <a:lnTo>
                    <a:pt x="740" y="157"/>
                  </a:lnTo>
                  <a:lnTo>
                    <a:pt x="765" y="198"/>
                  </a:lnTo>
                  <a:lnTo>
                    <a:pt x="793" y="236"/>
                  </a:lnTo>
                  <a:lnTo>
                    <a:pt x="826" y="270"/>
                  </a:lnTo>
                  <a:lnTo>
                    <a:pt x="862" y="302"/>
                  </a:lnTo>
                  <a:lnTo>
                    <a:pt x="871" y="349"/>
                  </a:lnTo>
                  <a:lnTo>
                    <a:pt x="823" y="285"/>
                  </a:lnTo>
                  <a:lnTo>
                    <a:pt x="818" y="283"/>
                  </a:lnTo>
                  <a:lnTo>
                    <a:pt x="810" y="280"/>
                  </a:lnTo>
                  <a:lnTo>
                    <a:pt x="799" y="279"/>
                  </a:lnTo>
                  <a:lnTo>
                    <a:pt x="786" y="279"/>
                  </a:lnTo>
                  <a:lnTo>
                    <a:pt x="755" y="286"/>
                  </a:lnTo>
                  <a:lnTo>
                    <a:pt x="725" y="298"/>
                  </a:lnTo>
                  <a:lnTo>
                    <a:pt x="698" y="313"/>
                  </a:lnTo>
                  <a:lnTo>
                    <a:pt x="674" y="333"/>
                  </a:lnTo>
                  <a:lnTo>
                    <a:pt x="651" y="357"/>
                  </a:lnTo>
                  <a:lnTo>
                    <a:pt x="630" y="384"/>
                  </a:lnTo>
                  <a:lnTo>
                    <a:pt x="611" y="413"/>
                  </a:lnTo>
                  <a:lnTo>
                    <a:pt x="594" y="444"/>
                  </a:lnTo>
                  <a:lnTo>
                    <a:pt x="579" y="478"/>
                  </a:lnTo>
                  <a:lnTo>
                    <a:pt x="565" y="514"/>
                  </a:lnTo>
                  <a:lnTo>
                    <a:pt x="444" y="514"/>
                  </a:lnTo>
                  <a:lnTo>
                    <a:pt x="444" y="514"/>
                  </a:lnTo>
                  <a:lnTo>
                    <a:pt x="0" y="514"/>
                  </a:lnTo>
                  <a:lnTo>
                    <a:pt x="0" y="510"/>
                  </a:lnTo>
                  <a:lnTo>
                    <a:pt x="0" y="502"/>
                  </a:lnTo>
                  <a:lnTo>
                    <a:pt x="1" y="489"/>
                  </a:lnTo>
                  <a:lnTo>
                    <a:pt x="2" y="472"/>
                  </a:lnTo>
                  <a:lnTo>
                    <a:pt x="4" y="450"/>
                  </a:lnTo>
                  <a:lnTo>
                    <a:pt x="7" y="424"/>
                  </a:lnTo>
                  <a:lnTo>
                    <a:pt x="10" y="397"/>
                  </a:lnTo>
                  <a:lnTo>
                    <a:pt x="14" y="367"/>
                  </a:lnTo>
                  <a:lnTo>
                    <a:pt x="19" y="335"/>
                  </a:lnTo>
                  <a:lnTo>
                    <a:pt x="25" y="303"/>
                  </a:lnTo>
                  <a:lnTo>
                    <a:pt x="33" y="268"/>
                  </a:lnTo>
                  <a:lnTo>
                    <a:pt x="42" y="235"/>
                  </a:lnTo>
                  <a:lnTo>
                    <a:pt x="53" y="201"/>
                  </a:lnTo>
                  <a:lnTo>
                    <a:pt x="64" y="169"/>
                  </a:lnTo>
                  <a:lnTo>
                    <a:pt x="78" y="137"/>
                  </a:lnTo>
                  <a:lnTo>
                    <a:pt x="92" y="108"/>
                  </a:lnTo>
                  <a:lnTo>
                    <a:pt x="110" y="81"/>
                  </a:lnTo>
                  <a:lnTo>
                    <a:pt x="129" y="57"/>
                  </a:lnTo>
                  <a:lnTo>
                    <a:pt x="150" y="37"/>
                  </a:lnTo>
                  <a:lnTo>
                    <a:pt x="173" y="20"/>
                  </a:lnTo>
                  <a:lnTo>
                    <a:pt x="199" y="9"/>
                  </a:lnTo>
                  <a:lnTo>
                    <a:pt x="227" y="1"/>
                  </a:lnTo>
                  <a:lnTo>
                    <a:pt x="237" y="1"/>
                  </a:lnTo>
                  <a:lnTo>
                    <a:pt x="245" y="3"/>
                  </a:lnTo>
                  <a:lnTo>
                    <a:pt x="359" y="156"/>
                  </a:lnTo>
                  <a:lnTo>
                    <a:pt x="444" y="88"/>
                  </a:lnTo>
                  <a:lnTo>
                    <a:pt x="444" y="87"/>
                  </a:lnTo>
                  <a:lnTo>
                    <a:pt x="530" y="156"/>
                  </a:lnTo>
                  <a:lnTo>
                    <a:pt x="643" y="3"/>
                  </a:lnTo>
                  <a:lnTo>
                    <a:pt x="651" y="0"/>
                  </a:lnTo>
                  <a:lnTo>
                    <a:pt x="6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en-GB" sz="1714" dirty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4" name="Group 73"/>
          <p:cNvGrpSpPr>
            <a:grpSpLocks noChangeAspect="1"/>
          </p:cNvGrpSpPr>
          <p:nvPr/>
        </p:nvGrpSpPr>
        <p:grpSpPr bwMode="gray">
          <a:xfrm>
            <a:off x="458212" y="4605428"/>
            <a:ext cx="465378" cy="440548"/>
            <a:chOff x="5243513" y="2376488"/>
            <a:chExt cx="1220787" cy="1050925"/>
          </a:xfrm>
          <a:solidFill>
            <a:schemeClr val="accent5"/>
          </a:solidFill>
        </p:grpSpPr>
        <p:sp>
          <p:nvSpPr>
            <p:cNvPr id="75" name="Freeform 16"/>
            <p:cNvSpPr>
              <a:spLocks/>
            </p:cNvSpPr>
            <p:nvPr/>
          </p:nvSpPr>
          <p:spPr bwMode="gray">
            <a:xfrm>
              <a:off x="5568950" y="2376488"/>
              <a:ext cx="531812" cy="1050925"/>
            </a:xfrm>
            <a:custGeom>
              <a:avLst/>
              <a:gdLst>
                <a:gd name="T0" fmla="*/ 33 w 142"/>
                <a:gd name="T1" fmla="*/ 151 h 280"/>
                <a:gd name="T2" fmla="*/ 36 w 142"/>
                <a:gd name="T3" fmla="*/ 163 h 280"/>
                <a:gd name="T4" fmla="*/ 6 w 142"/>
                <a:gd name="T5" fmla="*/ 270 h 280"/>
                <a:gd name="T6" fmla="*/ 18 w 142"/>
                <a:gd name="T7" fmla="*/ 270 h 280"/>
                <a:gd name="T8" fmla="*/ 136 w 142"/>
                <a:gd name="T9" fmla="*/ 124 h 280"/>
                <a:gd name="T10" fmla="*/ 100 w 142"/>
                <a:gd name="T11" fmla="*/ 124 h 280"/>
                <a:gd name="T12" fmla="*/ 88 w 142"/>
                <a:gd name="T13" fmla="*/ 117 h 280"/>
                <a:gd name="T14" fmla="*/ 87 w 142"/>
                <a:gd name="T15" fmla="*/ 103 h 280"/>
                <a:gd name="T16" fmla="*/ 142 w 142"/>
                <a:gd name="T17" fmla="*/ 0 h 280"/>
                <a:gd name="T18" fmla="*/ 41 w 142"/>
                <a:gd name="T19" fmla="*/ 0 h 280"/>
                <a:gd name="T20" fmla="*/ 0 w 142"/>
                <a:gd name="T21" fmla="*/ 146 h 280"/>
                <a:gd name="T22" fmla="*/ 22 w 142"/>
                <a:gd name="T23" fmla="*/ 146 h 280"/>
                <a:gd name="T24" fmla="*/ 33 w 142"/>
                <a:gd name="T25" fmla="*/ 15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" h="280">
                  <a:moveTo>
                    <a:pt x="33" y="151"/>
                  </a:moveTo>
                  <a:cubicBezTo>
                    <a:pt x="36" y="155"/>
                    <a:pt x="37" y="159"/>
                    <a:pt x="36" y="163"/>
                  </a:cubicBezTo>
                  <a:cubicBezTo>
                    <a:pt x="36" y="163"/>
                    <a:pt x="9" y="260"/>
                    <a:pt x="6" y="270"/>
                  </a:cubicBezTo>
                  <a:cubicBezTo>
                    <a:pt x="4" y="280"/>
                    <a:pt x="13" y="277"/>
                    <a:pt x="18" y="270"/>
                  </a:cubicBezTo>
                  <a:cubicBezTo>
                    <a:pt x="23" y="265"/>
                    <a:pt x="136" y="124"/>
                    <a:pt x="136" y="124"/>
                  </a:cubicBezTo>
                  <a:cubicBezTo>
                    <a:pt x="100" y="124"/>
                    <a:pt x="100" y="124"/>
                    <a:pt x="100" y="124"/>
                  </a:cubicBezTo>
                  <a:cubicBezTo>
                    <a:pt x="95" y="124"/>
                    <a:pt x="90" y="121"/>
                    <a:pt x="88" y="117"/>
                  </a:cubicBezTo>
                  <a:cubicBezTo>
                    <a:pt x="85" y="113"/>
                    <a:pt x="85" y="108"/>
                    <a:pt x="87" y="103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7" y="146"/>
                    <a:pt x="31" y="148"/>
                    <a:pt x="33" y="1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algn="ctr"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de-DE" sz="1714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 28"/>
            <p:cNvSpPr>
              <a:spLocks/>
            </p:cNvSpPr>
            <p:nvPr/>
          </p:nvSpPr>
          <p:spPr bwMode="gray">
            <a:xfrm>
              <a:off x="6011863" y="2406650"/>
              <a:ext cx="452437" cy="266700"/>
            </a:xfrm>
            <a:custGeom>
              <a:avLst/>
              <a:gdLst>
                <a:gd name="T0" fmla="*/ 121 w 121"/>
                <a:gd name="T1" fmla="*/ 24 h 71"/>
                <a:gd name="T2" fmla="*/ 118 w 121"/>
                <a:gd name="T3" fmla="*/ 20 h 71"/>
                <a:gd name="T4" fmla="*/ 114 w 121"/>
                <a:gd name="T5" fmla="*/ 14 h 71"/>
                <a:gd name="T6" fmla="*/ 108 w 121"/>
                <a:gd name="T7" fmla="*/ 9 h 71"/>
                <a:gd name="T8" fmla="*/ 100 w 121"/>
                <a:gd name="T9" fmla="*/ 4 h 71"/>
                <a:gd name="T10" fmla="*/ 90 w 121"/>
                <a:gd name="T11" fmla="*/ 1 h 71"/>
                <a:gd name="T12" fmla="*/ 80 w 121"/>
                <a:gd name="T13" fmla="*/ 0 h 71"/>
                <a:gd name="T14" fmla="*/ 69 w 121"/>
                <a:gd name="T15" fmla="*/ 1 h 71"/>
                <a:gd name="T16" fmla="*/ 59 w 121"/>
                <a:gd name="T17" fmla="*/ 4 h 71"/>
                <a:gd name="T18" fmla="*/ 50 w 121"/>
                <a:gd name="T19" fmla="*/ 8 h 71"/>
                <a:gd name="T20" fmla="*/ 37 w 121"/>
                <a:gd name="T21" fmla="*/ 20 h 71"/>
                <a:gd name="T22" fmla="*/ 32 w 121"/>
                <a:gd name="T23" fmla="*/ 26 h 71"/>
                <a:gd name="T24" fmla="*/ 29 w 121"/>
                <a:gd name="T25" fmla="*/ 32 h 71"/>
                <a:gd name="T26" fmla="*/ 28 w 121"/>
                <a:gd name="T27" fmla="*/ 34 h 71"/>
                <a:gd name="T28" fmla="*/ 31 w 121"/>
                <a:gd name="T29" fmla="*/ 33 h 71"/>
                <a:gd name="T30" fmla="*/ 52 w 121"/>
                <a:gd name="T31" fmla="*/ 25 h 71"/>
                <a:gd name="T32" fmla="*/ 64 w 121"/>
                <a:gd name="T33" fmla="*/ 23 h 71"/>
                <a:gd name="T34" fmla="*/ 69 w 121"/>
                <a:gd name="T35" fmla="*/ 22 h 71"/>
                <a:gd name="T36" fmla="*/ 74 w 121"/>
                <a:gd name="T37" fmla="*/ 22 h 71"/>
                <a:gd name="T38" fmla="*/ 78 w 121"/>
                <a:gd name="T39" fmla="*/ 22 h 71"/>
                <a:gd name="T40" fmla="*/ 81 w 121"/>
                <a:gd name="T41" fmla="*/ 22 h 71"/>
                <a:gd name="T42" fmla="*/ 84 w 121"/>
                <a:gd name="T43" fmla="*/ 23 h 71"/>
                <a:gd name="T44" fmla="*/ 81 w 121"/>
                <a:gd name="T45" fmla="*/ 23 h 71"/>
                <a:gd name="T46" fmla="*/ 78 w 121"/>
                <a:gd name="T47" fmla="*/ 22 h 71"/>
                <a:gd name="T48" fmla="*/ 74 w 121"/>
                <a:gd name="T49" fmla="*/ 23 h 71"/>
                <a:gd name="T50" fmla="*/ 69 w 121"/>
                <a:gd name="T51" fmla="*/ 23 h 71"/>
                <a:gd name="T52" fmla="*/ 64 w 121"/>
                <a:gd name="T53" fmla="*/ 24 h 71"/>
                <a:gd name="T54" fmla="*/ 53 w 121"/>
                <a:gd name="T55" fmla="*/ 28 h 71"/>
                <a:gd name="T56" fmla="*/ 33 w 121"/>
                <a:gd name="T57" fmla="*/ 37 h 71"/>
                <a:gd name="T58" fmla="*/ 31 w 121"/>
                <a:gd name="T59" fmla="*/ 38 h 71"/>
                <a:gd name="T60" fmla="*/ 0 w 121"/>
                <a:gd name="T61" fmla="*/ 69 h 71"/>
                <a:gd name="T62" fmla="*/ 3 w 121"/>
                <a:gd name="T63" fmla="*/ 71 h 71"/>
                <a:gd name="T64" fmla="*/ 34 w 121"/>
                <a:gd name="T65" fmla="*/ 41 h 71"/>
                <a:gd name="T66" fmla="*/ 39 w 121"/>
                <a:gd name="T67" fmla="*/ 43 h 71"/>
                <a:gd name="T68" fmla="*/ 46 w 121"/>
                <a:gd name="T69" fmla="*/ 45 h 71"/>
                <a:gd name="T70" fmla="*/ 53 w 121"/>
                <a:gd name="T71" fmla="*/ 46 h 71"/>
                <a:gd name="T72" fmla="*/ 61 w 121"/>
                <a:gd name="T73" fmla="*/ 47 h 71"/>
                <a:gd name="T74" fmla="*/ 69 w 121"/>
                <a:gd name="T75" fmla="*/ 47 h 71"/>
                <a:gd name="T76" fmla="*/ 77 w 121"/>
                <a:gd name="T77" fmla="*/ 46 h 71"/>
                <a:gd name="T78" fmla="*/ 92 w 121"/>
                <a:gd name="T79" fmla="*/ 42 h 71"/>
                <a:gd name="T80" fmla="*/ 99 w 121"/>
                <a:gd name="T81" fmla="*/ 39 h 71"/>
                <a:gd name="T82" fmla="*/ 105 w 121"/>
                <a:gd name="T83" fmla="*/ 35 h 71"/>
                <a:gd name="T84" fmla="*/ 111 w 121"/>
                <a:gd name="T85" fmla="*/ 32 h 71"/>
                <a:gd name="T86" fmla="*/ 116 w 121"/>
                <a:gd name="T87" fmla="*/ 28 h 71"/>
                <a:gd name="T88" fmla="*/ 120 w 121"/>
                <a:gd name="T89" fmla="*/ 26 h 71"/>
                <a:gd name="T90" fmla="*/ 121 w 121"/>
                <a:gd name="T91" fmla="*/ 25 h 71"/>
                <a:gd name="T92" fmla="*/ 121 w 121"/>
                <a:gd name="T93" fmla="*/ 24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1" h="71">
                  <a:moveTo>
                    <a:pt x="121" y="24"/>
                  </a:moveTo>
                  <a:cubicBezTo>
                    <a:pt x="120" y="23"/>
                    <a:pt x="119" y="21"/>
                    <a:pt x="118" y="20"/>
                  </a:cubicBezTo>
                  <a:cubicBezTo>
                    <a:pt x="117" y="18"/>
                    <a:pt x="116" y="16"/>
                    <a:pt x="114" y="14"/>
                  </a:cubicBezTo>
                  <a:cubicBezTo>
                    <a:pt x="112" y="13"/>
                    <a:pt x="110" y="11"/>
                    <a:pt x="108" y="9"/>
                  </a:cubicBezTo>
                  <a:cubicBezTo>
                    <a:pt x="105" y="7"/>
                    <a:pt x="103" y="6"/>
                    <a:pt x="100" y="4"/>
                  </a:cubicBezTo>
                  <a:cubicBezTo>
                    <a:pt x="97" y="3"/>
                    <a:pt x="93" y="2"/>
                    <a:pt x="90" y="1"/>
                  </a:cubicBezTo>
                  <a:cubicBezTo>
                    <a:pt x="87" y="1"/>
                    <a:pt x="83" y="0"/>
                    <a:pt x="80" y="0"/>
                  </a:cubicBezTo>
                  <a:cubicBezTo>
                    <a:pt x="76" y="0"/>
                    <a:pt x="73" y="1"/>
                    <a:pt x="69" y="1"/>
                  </a:cubicBezTo>
                  <a:cubicBezTo>
                    <a:pt x="66" y="2"/>
                    <a:pt x="63" y="3"/>
                    <a:pt x="59" y="4"/>
                  </a:cubicBezTo>
                  <a:cubicBezTo>
                    <a:pt x="56" y="5"/>
                    <a:pt x="53" y="6"/>
                    <a:pt x="50" y="8"/>
                  </a:cubicBezTo>
                  <a:cubicBezTo>
                    <a:pt x="45" y="11"/>
                    <a:pt x="40" y="16"/>
                    <a:pt x="37" y="20"/>
                  </a:cubicBezTo>
                  <a:cubicBezTo>
                    <a:pt x="35" y="22"/>
                    <a:pt x="33" y="24"/>
                    <a:pt x="32" y="26"/>
                  </a:cubicBezTo>
                  <a:cubicBezTo>
                    <a:pt x="31" y="28"/>
                    <a:pt x="30" y="30"/>
                    <a:pt x="29" y="32"/>
                  </a:cubicBezTo>
                  <a:cubicBezTo>
                    <a:pt x="29" y="33"/>
                    <a:pt x="28" y="34"/>
                    <a:pt x="28" y="34"/>
                  </a:cubicBezTo>
                  <a:cubicBezTo>
                    <a:pt x="29" y="34"/>
                    <a:pt x="30" y="33"/>
                    <a:pt x="31" y="33"/>
                  </a:cubicBezTo>
                  <a:cubicBezTo>
                    <a:pt x="37" y="30"/>
                    <a:pt x="44" y="28"/>
                    <a:pt x="52" y="25"/>
                  </a:cubicBezTo>
                  <a:cubicBezTo>
                    <a:pt x="56" y="24"/>
                    <a:pt x="60" y="23"/>
                    <a:pt x="64" y="23"/>
                  </a:cubicBezTo>
                  <a:cubicBezTo>
                    <a:pt x="66" y="23"/>
                    <a:pt x="67" y="22"/>
                    <a:pt x="69" y="22"/>
                  </a:cubicBezTo>
                  <a:cubicBezTo>
                    <a:pt x="71" y="22"/>
                    <a:pt x="73" y="22"/>
                    <a:pt x="74" y="22"/>
                  </a:cubicBezTo>
                  <a:cubicBezTo>
                    <a:pt x="76" y="22"/>
                    <a:pt x="77" y="22"/>
                    <a:pt x="78" y="22"/>
                  </a:cubicBezTo>
                  <a:cubicBezTo>
                    <a:pt x="79" y="22"/>
                    <a:pt x="81" y="22"/>
                    <a:pt x="81" y="22"/>
                  </a:cubicBezTo>
                  <a:cubicBezTo>
                    <a:pt x="83" y="23"/>
                    <a:pt x="84" y="23"/>
                    <a:pt x="84" y="23"/>
                  </a:cubicBezTo>
                  <a:cubicBezTo>
                    <a:pt x="84" y="23"/>
                    <a:pt x="83" y="23"/>
                    <a:pt x="81" y="23"/>
                  </a:cubicBezTo>
                  <a:cubicBezTo>
                    <a:pt x="80" y="23"/>
                    <a:pt x="79" y="22"/>
                    <a:pt x="78" y="22"/>
                  </a:cubicBezTo>
                  <a:cubicBezTo>
                    <a:pt x="77" y="23"/>
                    <a:pt x="76" y="23"/>
                    <a:pt x="74" y="23"/>
                  </a:cubicBezTo>
                  <a:cubicBezTo>
                    <a:pt x="73" y="23"/>
                    <a:pt x="71" y="23"/>
                    <a:pt x="69" y="23"/>
                  </a:cubicBezTo>
                  <a:cubicBezTo>
                    <a:pt x="68" y="24"/>
                    <a:pt x="66" y="24"/>
                    <a:pt x="64" y="24"/>
                  </a:cubicBezTo>
                  <a:cubicBezTo>
                    <a:pt x="60" y="25"/>
                    <a:pt x="57" y="26"/>
                    <a:pt x="53" y="28"/>
                  </a:cubicBezTo>
                  <a:cubicBezTo>
                    <a:pt x="46" y="30"/>
                    <a:pt x="38" y="34"/>
                    <a:pt x="33" y="37"/>
                  </a:cubicBezTo>
                  <a:cubicBezTo>
                    <a:pt x="32" y="37"/>
                    <a:pt x="32" y="38"/>
                    <a:pt x="31" y="38"/>
                  </a:cubicBezTo>
                  <a:cubicBezTo>
                    <a:pt x="11" y="48"/>
                    <a:pt x="0" y="68"/>
                    <a:pt x="0" y="69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4" y="71"/>
                    <a:pt x="15" y="50"/>
                    <a:pt x="34" y="41"/>
                  </a:cubicBezTo>
                  <a:cubicBezTo>
                    <a:pt x="36" y="42"/>
                    <a:pt x="37" y="42"/>
                    <a:pt x="39" y="43"/>
                  </a:cubicBezTo>
                  <a:cubicBezTo>
                    <a:pt x="41" y="43"/>
                    <a:pt x="43" y="44"/>
                    <a:pt x="46" y="45"/>
                  </a:cubicBezTo>
                  <a:cubicBezTo>
                    <a:pt x="48" y="45"/>
                    <a:pt x="51" y="46"/>
                    <a:pt x="53" y="46"/>
                  </a:cubicBezTo>
                  <a:cubicBezTo>
                    <a:pt x="56" y="47"/>
                    <a:pt x="59" y="47"/>
                    <a:pt x="61" y="47"/>
                  </a:cubicBezTo>
                  <a:cubicBezTo>
                    <a:pt x="64" y="47"/>
                    <a:pt x="67" y="47"/>
                    <a:pt x="69" y="47"/>
                  </a:cubicBezTo>
                  <a:cubicBezTo>
                    <a:pt x="72" y="47"/>
                    <a:pt x="75" y="46"/>
                    <a:pt x="77" y="46"/>
                  </a:cubicBezTo>
                  <a:cubicBezTo>
                    <a:pt x="82" y="45"/>
                    <a:pt x="87" y="44"/>
                    <a:pt x="92" y="42"/>
                  </a:cubicBezTo>
                  <a:cubicBezTo>
                    <a:pt x="94" y="41"/>
                    <a:pt x="96" y="40"/>
                    <a:pt x="99" y="39"/>
                  </a:cubicBezTo>
                  <a:cubicBezTo>
                    <a:pt x="101" y="38"/>
                    <a:pt x="103" y="36"/>
                    <a:pt x="105" y="35"/>
                  </a:cubicBezTo>
                  <a:cubicBezTo>
                    <a:pt x="107" y="34"/>
                    <a:pt x="109" y="33"/>
                    <a:pt x="111" y="32"/>
                  </a:cubicBezTo>
                  <a:cubicBezTo>
                    <a:pt x="113" y="30"/>
                    <a:pt x="115" y="29"/>
                    <a:pt x="116" y="28"/>
                  </a:cubicBezTo>
                  <a:cubicBezTo>
                    <a:pt x="118" y="28"/>
                    <a:pt x="119" y="27"/>
                    <a:pt x="120" y="26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1" y="25"/>
                    <a:pt x="121" y="25"/>
                    <a:pt x="121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algn="ctr"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de-DE" sz="1714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29"/>
            <p:cNvSpPr>
              <a:spLocks/>
            </p:cNvSpPr>
            <p:nvPr/>
          </p:nvSpPr>
          <p:spPr bwMode="gray">
            <a:xfrm>
              <a:off x="5243513" y="2833688"/>
              <a:ext cx="377825" cy="357187"/>
            </a:xfrm>
            <a:custGeom>
              <a:avLst/>
              <a:gdLst>
                <a:gd name="T0" fmla="*/ 35 w 101"/>
                <a:gd name="T1" fmla="*/ 47 h 95"/>
                <a:gd name="T2" fmla="*/ 42 w 101"/>
                <a:gd name="T3" fmla="*/ 51 h 95"/>
                <a:gd name="T4" fmla="*/ 50 w 101"/>
                <a:gd name="T5" fmla="*/ 53 h 95"/>
                <a:gd name="T6" fmla="*/ 57 w 101"/>
                <a:gd name="T7" fmla="*/ 55 h 95"/>
                <a:gd name="T8" fmla="*/ 65 w 101"/>
                <a:gd name="T9" fmla="*/ 56 h 95"/>
                <a:gd name="T10" fmla="*/ 73 w 101"/>
                <a:gd name="T11" fmla="*/ 56 h 95"/>
                <a:gd name="T12" fmla="*/ 77 w 101"/>
                <a:gd name="T13" fmla="*/ 56 h 95"/>
                <a:gd name="T14" fmla="*/ 97 w 101"/>
                <a:gd name="T15" fmla="*/ 95 h 95"/>
                <a:gd name="T16" fmla="*/ 101 w 101"/>
                <a:gd name="T17" fmla="*/ 94 h 95"/>
                <a:gd name="T18" fmla="*/ 81 w 101"/>
                <a:gd name="T19" fmla="*/ 54 h 95"/>
                <a:gd name="T20" fmla="*/ 79 w 101"/>
                <a:gd name="T21" fmla="*/ 53 h 95"/>
                <a:gd name="T22" fmla="*/ 64 w 101"/>
                <a:gd name="T23" fmla="*/ 38 h 95"/>
                <a:gd name="T24" fmla="*/ 54 w 101"/>
                <a:gd name="T25" fmla="*/ 31 h 95"/>
                <a:gd name="T26" fmla="*/ 49 w 101"/>
                <a:gd name="T27" fmla="*/ 28 h 95"/>
                <a:gd name="T28" fmla="*/ 45 w 101"/>
                <a:gd name="T29" fmla="*/ 26 h 95"/>
                <a:gd name="T30" fmla="*/ 41 w 101"/>
                <a:gd name="T31" fmla="*/ 25 h 95"/>
                <a:gd name="T32" fmla="*/ 38 w 101"/>
                <a:gd name="T33" fmla="*/ 24 h 95"/>
                <a:gd name="T34" fmla="*/ 36 w 101"/>
                <a:gd name="T35" fmla="*/ 23 h 95"/>
                <a:gd name="T36" fmla="*/ 38 w 101"/>
                <a:gd name="T37" fmla="*/ 23 h 95"/>
                <a:gd name="T38" fmla="*/ 41 w 101"/>
                <a:gd name="T39" fmla="*/ 24 h 95"/>
                <a:gd name="T40" fmla="*/ 45 w 101"/>
                <a:gd name="T41" fmla="*/ 25 h 95"/>
                <a:gd name="T42" fmla="*/ 50 w 101"/>
                <a:gd name="T43" fmla="*/ 27 h 95"/>
                <a:gd name="T44" fmla="*/ 55 w 101"/>
                <a:gd name="T45" fmla="*/ 29 h 95"/>
                <a:gd name="T46" fmla="*/ 65 w 101"/>
                <a:gd name="T47" fmla="*/ 36 h 95"/>
                <a:gd name="T48" fmla="*/ 83 w 101"/>
                <a:gd name="T49" fmla="*/ 49 h 95"/>
                <a:gd name="T50" fmla="*/ 85 w 101"/>
                <a:gd name="T51" fmla="*/ 52 h 95"/>
                <a:gd name="T52" fmla="*/ 85 w 101"/>
                <a:gd name="T53" fmla="*/ 49 h 95"/>
                <a:gd name="T54" fmla="*/ 84 w 101"/>
                <a:gd name="T55" fmla="*/ 43 h 95"/>
                <a:gd name="T56" fmla="*/ 82 w 101"/>
                <a:gd name="T57" fmla="*/ 35 h 95"/>
                <a:gd name="T58" fmla="*/ 72 w 101"/>
                <a:gd name="T59" fmla="*/ 20 h 95"/>
                <a:gd name="T60" fmla="*/ 65 w 101"/>
                <a:gd name="T61" fmla="*/ 13 h 95"/>
                <a:gd name="T62" fmla="*/ 57 w 101"/>
                <a:gd name="T63" fmla="*/ 7 h 95"/>
                <a:gd name="T64" fmla="*/ 47 w 101"/>
                <a:gd name="T65" fmla="*/ 3 h 95"/>
                <a:gd name="T66" fmla="*/ 37 w 101"/>
                <a:gd name="T67" fmla="*/ 1 h 95"/>
                <a:gd name="T68" fmla="*/ 27 w 101"/>
                <a:gd name="T69" fmla="*/ 1 h 95"/>
                <a:gd name="T70" fmla="*/ 18 w 101"/>
                <a:gd name="T71" fmla="*/ 2 h 95"/>
                <a:gd name="T72" fmla="*/ 10 w 101"/>
                <a:gd name="T73" fmla="*/ 5 h 95"/>
                <a:gd name="T74" fmla="*/ 4 w 101"/>
                <a:gd name="T75" fmla="*/ 9 h 95"/>
                <a:gd name="T76" fmla="*/ 1 w 101"/>
                <a:gd name="T77" fmla="*/ 12 h 95"/>
                <a:gd name="T78" fmla="*/ 0 w 101"/>
                <a:gd name="T79" fmla="*/ 13 h 95"/>
                <a:gd name="T80" fmla="*/ 1 w 101"/>
                <a:gd name="T81" fmla="*/ 15 h 95"/>
                <a:gd name="T82" fmla="*/ 4 w 101"/>
                <a:gd name="T83" fmla="*/ 18 h 95"/>
                <a:gd name="T84" fmla="*/ 7 w 101"/>
                <a:gd name="T85" fmla="*/ 23 h 95"/>
                <a:gd name="T86" fmla="*/ 12 w 101"/>
                <a:gd name="T87" fmla="*/ 28 h 95"/>
                <a:gd name="T88" fmla="*/ 17 w 101"/>
                <a:gd name="T89" fmla="*/ 33 h 95"/>
                <a:gd name="T90" fmla="*/ 22 w 101"/>
                <a:gd name="T91" fmla="*/ 39 h 95"/>
                <a:gd name="T92" fmla="*/ 35 w 101"/>
                <a:gd name="T93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1" h="95">
                  <a:moveTo>
                    <a:pt x="35" y="47"/>
                  </a:moveTo>
                  <a:cubicBezTo>
                    <a:pt x="37" y="48"/>
                    <a:pt x="40" y="49"/>
                    <a:pt x="42" y="51"/>
                  </a:cubicBezTo>
                  <a:cubicBezTo>
                    <a:pt x="44" y="52"/>
                    <a:pt x="47" y="52"/>
                    <a:pt x="50" y="53"/>
                  </a:cubicBezTo>
                  <a:cubicBezTo>
                    <a:pt x="52" y="54"/>
                    <a:pt x="55" y="55"/>
                    <a:pt x="57" y="55"/>
                  </a:cubicBezTo>
                  <a:cubicBezTo>
                    <a:pt x="60" y="55"/>
                    <a:pt x="63" y="56"/>
                    <a:pt x="65" y="56"/>
                  </a:cubicBezTo>
                  <a:cubicBezTo>
                    <a:pt x="68" y="56"/>
                    <a:pt x="70" y="56"/>
                    <a:pt x="73" y="56"/>
                  </a:cubicBezTo>
                  <a:cubicBezTo>
                    <a:pt x="74" y="56"/>
                    <a:pt x="76" y="56"/>
                    <a:pt x="77" y="56"/>
                  </a:cubicBezTo>
                  <a:cubicBezTo>
                    <a:pt x="93" y="71"/>
                    <a:pt x="97" y="94"/>
                    <a:pt x="97" y="95"/>
                  </a:cubicBezTo>
                  <a:cubicBezTo>
                    <a:pt x="101" y="94"/>
                    <a:pt x="101" y="94"/>
                    <a:pt x="101" y="94"/>
                  </a:cubicBezTo>
                  <a:cubicBezTo>
                    <a:pt x="101" y="93"/>
                    <a:pt x="97" y="70"/>
                    <a:pt x="81" y="54"/>
                  </a:cubicBezTo>
                  <a:cubicBezTo>
                    <a:pt x="81" y="54"/>
                    <a:pt x="80" y="53"/>
                    <a:pt x="79" y="53"/>
                  </a:cubicBezTo>
                  <a:cubicBezTo>
                    <a:pt x="75" y="48"/>
                    <a:pt x="70" y="43"/>
                    <a:pt x="64" y="38"/>
                  </a:cubicBezTo>
                  <a:cubicBezTo>
                    <a:pt x="60" y="35"/>
                    <a:pt x="57" y="33"/>
                    <a:pt x="54" y="31"/>
                  </a:cubicBezTo>
                  <a:cubicBezTo>
                    <a:pt x="53" y="30"/>
                    <a:pt x="51" y="29"/>
                    <a:pt x="49" y="28"/>
                  </a:cubicBezTo>
                  <a:cubicBezTo>
                    <a:pt x="48" y="27"/>
                    <a:pt x="46" y="27"/>
                    <a:pt x="45" y="26"/>
                  </a:cubicBezTo>
                  <a:cubicBezTo>
                    <a:pt x="44" y="26"/>
                    <a:pt x="42" y="25"/>
                    <a:pt x="41" y="25"/>
                  </a:cubicBezTo>
                  <a:cubicBezTo>
                    <a:pt x="40" y="24"/>
                    <a:pt x="39" y="24"/>
                    <a:pt x="38" y="24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7" y="23"/>
                    <a:pt x="38" y="23"/>
                  </a:cubicBezTo>
                  <a:cubicBezTo>
                    <a:pt x="39" y="24"/>
                    <a:pt x="40" y="24"/>
                    <a:pt x="41" y="24"/>
                  </a:cubicBezTo>
                  <a:cubicBezTo>
                    <a:pt x="43" y="24"/>
                    <a:pt x="44" y="25"/>
                    <a:pt x="45" y="25"/>
                  </a:cubicBezTo>
                  <a:cubicBezTo>
                    <a:pt x="47" y="26"/>
                    <a:pt x="48" y="26"/>
                    <a:pt x="50" y="27"/>
                  </a:cubicBezTo>
                  <a:cubicBezTo>
                    <a:pt x="52" y="28"/>
                    <a:pt x="53" y="29"/>
                    <a:pt x="55" y="29"/>
                  </a:cubicBezTo>
                  <a:cubicBezTo>
                    <a:pt x="58" y="31"/>
                    <a:pt x="62" y="33"/>
                    <a:pt x="65" y="36"/>
                  </a:cubicBezTo>
                  <a:cubicBezTo>
                    <a:pt x="72" y="40"/>
                    <a:pt x="78" y="45"/>
                    <a:pt x="83" y="49"/>
                  </a:cubicBezTo>
                  <a:cubicBezTo>
                    <a:pt x="83" y="50"/>
                    <a:pt x="84" y="51"/>
                    <a:pt x="85" y="52"/>
                  </a:cubicBezTo>
                  <a:cubicBezTo>
                    <a:pt x="85" y="51"/>
                    <a:pt x="85" y="50"/>
                    <a:pt x="85" y="49"/>
                  </a:cubicBezTo>
                  <a:cubicBezTo>
                    <a:pt x="85" y="48"/>
                    <a:pt x="84" y="45"/>
                    <a:pt x="84" y="43"/>
                  </a:cubicBezTo>
                  <a:cubicBezTo>
                    <a:pt x="83" y="41"/>
                    <a:pt x="83" y="38"/>
                    <a:pt x="82" y="35"/>
                  </a:cubicBezTo>
                  <a:cubicBezTo>
                    <a:pt x="80" y="30"/>
                    <a:pt x="77" y="25"/>
                    <a:pt x="72" y="20"/>
                  </a:cubicBezTo>
                  <a:cubicBezTo>
                    <a:pt x="70" y="17"/>
                    <a:pt x="68" y="15"/>
                    <a:pt x="65" y="13"/>
                  </a:cubicBezTo>
                  <a:cubicBezTo>
                    <a:pt x="63" y="11"/>
                    <a:pt x="60" y="9"/>
                    <a:pt x="57" y="7"/>
                  </a:cubicBezTo>
                  <a:cubicBezTo>
                    <a:pt x="54" y="6"/>
                    <a:pt x="50" y="4"/>
                    <a:pt x="47" y="3"/>
                  </a:cubicBezTo>
                  <a:cubicBezTo>
                    <a:pt x="44" y="2"/>
                    <a:pt x="40" y="1"/>
                    <a:pt x="37" y="1"/>
                  </a:cubicBezTo>
                  <a:cubicBezTo>
                    <a:pt x="33" y="0"/>
                    <a:pt x="30" y="0"/>
                    <a:pt x="27" y="1"/>
                  </a:cubicBezTo>
                  <a:cubicBezTo>
                    <a:pt x="23" y="1"/>
                    <a:pt x="20" y="1"/>
                    <a:pt x="18" y="2"/>
                  </a:cubicBezTo>
                  <a:cubicBezTo>
                    <a:pt x="15" y="3"/>
                    <a:pt x="12" y="4"/>
                    <a:pt x="10" y="5"/>
                  </a:cubicBezTo>
                  <a:cubicBezTo>
                    <a:pt x="8" y="6"/>
                    <a:pt x="6" y="8"/>
                    <a:pt x="4" y="9"/>
                  </a:cubicBezTo>
                  <a:cubicBezTo>
                    <a:pt x="3" y="10"/>
                    <a:pt x="2" y="11"/>
                    <a:pt x="1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1" y="15"/>
                  </a:cubicBezTo>
                  <a:cubicBezTo>
                    <a:pt x="2" y="15"/>
                    <a:pt x="2" y="17"/>
                    <a:pt x="4" y="18"/>
                  </a:cubicBezTo>
                  <a:cubicBezTo>
                    <a:pt x="5" y="19"/>
                    <a:pt x="6" y="21"/>
                    <a:pt x="7" y="23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4" y="30"/>
                    <a:pt x="15" y="32"/>
                    <a:pt x="17" y="33"/>
                  </a:cubicBezTo>
                  <a:cubicBezTo>
                    <a:pt x="19" y="35"/>
                    <a:pt x="20" y="37"/>
                    <a:pt x="22" y="39"/>
                  </a:cubicBezTo>
                  <a:cubicBezTo>
                    <a:pt x="26" y="42"/>
                    <a:pt x="30" y="45"/>
                    <a:pt x="35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algn="ctr" defTabSz="870875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</a:pPr>
              <a:endParaRPr lang="de-DE" sz="1714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2" name="Title 10">
            <a:extLst>
              <a:ext uri="{FF2B5EF4-FFF2-40B4-BE49-F238E27FC236}">
                <a16:creationId xmlns:a16="http://schemas.microsoft.com/office/drawing/2014/main" id="{A90AE584-B5CD-614C-BDC8-A7B8AD9327B3}"/>
              </a:ext>
            </a:extLst>
          </p:cNvPr>
          <p:cNvSpPr txBox="1">
            <a:spLocks/>
          </p:cNvSpPr>
          <p:nvPr/>
        </p:nvSpPr>
        <p:spPr>
          <a:xfrm>
            <a:off x="521966" y="206367"/>
            <a:ext cx="8273143" cy="109001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>
            <a:lvl1pPr algn="l" defTabSz="914400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2000" ker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70875" fontAlgn="auto">
              <a:spcAft>
                <a:spcPts val="0"/>
              </a:spcAft>
              <a:buClrTx/>
              <a:buSzTx/>
            </a:pPr>
            <a:r>
              <a:rPr lang="en-GB" sz="2400" b="1" dirty="0">
                <a:solidFill>
                  <a:srgbClr val="FF9F18"/>
                </a:solidFill>
                <a:latin typeface="Arial"/>
              </a:rPr>
              <a:t>Family of Coops </a:t>
            </a:r>
            <a:br>
              <a:rPr lang="en-GB" sz="1905" dirty="0">
                <a:solidFill>
                  <a:srgbClr val="FF9F18"/>
                </a:solidFill>
                <a:latin typeface="Arial"/>
              </a:rPr>
            </a:br>
            <a:r>
              <a:rPr lang="en-GB" sz="1800" dirty="0">
                <a:solidFill>
                  <a:srgbClr val="FF9F18"/>
                </a:solidFill>
                <a:latin typeface="Arial"/>
              </a:rPr>
              <a:t> </a:t>
            </a:r>
            <a:r>
              <a:rPr lang="en-GB" sz="1800" dirty="0">
                <a:solidFill>
                  <a:srgbClr val="A3CE38"/>
                </a:solidFill>
                <a:latin typeface="Arial"/>
              </a:rPr>
              <a:t>- Community building</a:t>
            </a:r>
          </a:p>
          <a:p>
            <a:pPr defTabSz="870875" fontAlgn="auto">
              <a:spcAft>
                <a:spcPts val="0"/>
              </a:spcAft>
              <a:buClrTx/>
              <a:buSzTx/>
            </a:pPr>
            <a:r>
              <a:rPr lang="en-GB" sz="1800" dirty="0">
                <a:solidFill>
                  <a:srgbClr val="A3CE38"/>
                </a:solidFill>
                <a:latin typeface="Arial"/>
              </a:rPr>
              <a:t> - Operationalise core programmes to address climate emergencies</a:t>
            </a:r>
          </a:p>
          <a:p>
            <a:pPr defTabSz="870875" fontAlgn="auto">
              <a:spcAft>
                <a:spcPts val="0"/>
              </a:spcAft>
              <a:buClrTx/>
              <a:buSzTx/>
            </a:pPr>
            <a:r>
              <a:rPr lang="en-GB" sz="1800" dirty="0">
                <a:solidFill>
                  <a:srgbClr val="A3CE38"/>
                </a:solidFill>
                <a:latin typeface="Arial"/>
              </a:rPr>
              <a:t> - Build on partnerships to develop innovation projects </a:t>
            </a:r>
          </a:p>
          <a:p>
            <a:pPr defTabSz="870875" fontAlgn="auto">
              <a:spcAft>
                <a:spcPts val="0"/>
              </a:spcAft>
              <a:buClrTx/>
              <a:buSzTx/>
            </a:pPr>
            <a:endParaRPr lang="en-GB" sz="2286" dirty="0">
              <a:solidFill>
                <a:srgbClr val="A3CE38"/>
              </a:solidFill>
              <a:latin typeface="Arial"/>
            </a:endParaRPr>
          </a:p>
        </p:txBody>
      </p:sp>
      <p:pic>
        <p:nvPicPr>
          <p:cNvPr id="83" name="Picture 82" descr="C:\Users\Imo\Documents\Repowering London\Logos and Signatures\Banister House Logo.png">
            <a:extLst>
              <a:ext uri="{FF2B5EF4-FFF2-40B4-BE49-F238E27FC236}">
                <a16:creationId xmlns:a16="http://schemas.microsoft.com/office/drawing/2014/main" id="{4A7EA15E-D010-5B47-B61F-C2237C035968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2340" y="1396309"/>
            <a:ext cx="1201530" cy="1155477"/>
          </a:xfrm>
          <a:prstGeom prst="rect">
            <a:avLst/>
          </a:prstGeom>
          <a:noFill/>
          <a:ln>
            <a:noFill/>
          </a:ln>
        </p:spPr>
      </p:pic>
      <p:pic>
        <p:nvPicPr>
          <p:cNvPr id="91" name="Picture 90" descr="A close up of a sign&#10;&#10;Description automatically generated">
            <a:extLst>
              <a:ext uri="{FF2B5EF4-FFF2-40B4-BE49-F238E27FC236}">
                <a16:creationId xmlns:a16="http://schemas.microsoft.com/office/drawing/2014/main" id="{C497A38B-2DD1-D444-A5CA-C2257FB2C187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6885" y="2672638"/>
            <a:ext cx="1344930" cy="1076325"/>
          </a:xfrm>
          <a:prstGeom prst="rect">
            <a:avLst/>
          </a:prstGeom>
        </p:spPr>
      </p:pic>
      <p:pic>
        <p:nvPicPr>
          <p:cNvPr id="93" name="Picture 92" descr="Macintosh HD:Users:aga:Library:Mail Downloads:BES1 Final Logos Files:BES1_Logo.jpg">
            <a:extLst>
              <a:ext uri="{FF2B5EF4-FFF2-40B4-BE49-F238E27FC236}">
                <a16:creationId xmlns:a16="http://schemas.microsoft.com/office/drawing/2014/main" id="{6EA1DA3F-59C7-844D-8AE3-3C28B4FAB1EE}"/>
              </a:ext>
            </a:extLst>
          </p:cNvPr>
          <p:cNvPicPr/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457882" y="1575079"/>
            <a:ext cx="221678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" name="Picture 93" descr="Macintosh HD:private:var:folders:xg:kjbss9l97xq_0rzbgvp18bl40000gn:T:com.apple.mail.drag-T0x102123660.tmp.CZWyVl:BES2_Logo+tag_vector.eps">
            <a:extLst>
              <a:ext uri="{FF2B5EF4-FFF2-40B4-BE49-F238E27FC236}">
                <a16:creationId xmlns:a16="http://schemas.microsoft.com/office/drawing/2014/main" id="{D51335F7-A23E-8640-9DFA-1D3AC2A7D8A6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5202" y="2777108"/>
            <a:ext cx="2216785" cy="829596"/>
          </a:xfrm>
          <a:prstGeom prst="rect">
            <a:avLst/>
          </a:prstGeom>
          <a:noFill/>
          <a:ln>
            <a:noFill/>
          </a:ln>
        </p:spPr>
      </p:pic>
      <p:pic>
        <p:nvPicPr>
          <p:cNvPr id="95" name="image00.jpg">
            <a:extLst>
              <a:ext uri="{FF2B5EF4-FFF2-40B4-BE49-F238E27FC236}">
                <a16:creationId xmlns:a16="http://schemas.microsoft.com/office/drawing/2014/main" id="{FA251DB5-592F-484B-84D1-C2C3BDB6967B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57882" y="4165769"/>
            <a:ext cx="2216785" cy="781050"/>
          </a:xfrm>
          <a:prstGeom prst="rect">
            <a:avLst/>
          </a:prstGeom>
          <a:ln/>
        </p:spPr>
      </p:pic>
      <p:pic>
        <p:nvPicPr>
          <p:cNvPr id="96" name="Image 2">
            <a:extLst>
              <a:ext uri="{FF2B5EF4-FFF2-40B4-BE49-F238E27FC236}">
                <a16:creationId xmlns:a16="http://schemas.microsoft.com/office/drawing/2014/main" id="{1BAB9191-8493-CC47-A9A9-7C9AE78E2281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0346" y="4076757"/>
            <a:ext cx="1657888" cy="806142"/>
          </a:xfrm>
          <a:prstGeom prst="rect">
            <a:avLst/>
          </a:prstGeom>
          <a:noFill/>
          <a:ln>
            <a:noFill/>
          </a:ln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3CC9174D-43E2-904F-B752-B2DE5E98F572}"/>
              </a:ext>
            </a:extLst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1453" y="5313596"/>
            <a:ext cx="1855701" cy="1021999"/>
          </a:xfrm>
          <a:prstGeom prst="rect">
            <a:avLst/>
          </a:prstGeom>
        </p:spPr>
      </p:pic>
      <p:pic>
        <p:nvPicPr>
          <p:cNvPr id="98" name="Picture 97" descr="A close up of a logo&#10;&#10;Description automatically generated">
            <a:extLst>
              <a:ext uri="{FF2B5EF4-FFF2-40B4-BE49-F238E27FC236}">
                <a16:creationId xmlns:a16="http://schemas.microsoft.com/office/drawing/2014/main" id="{78DF889B-C0BB-5D45-A6A3-7E7D76D18D30}"/>
              </a:ext>
            </a:extLst>
          </p:cNvPr>
          <p:cNvPicPr/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1613" y="5296787"/>
            <a:ext cx="1295353" cy="1204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4833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50ECE-DC1F-4D28-B0BE-9929C6F07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428" y="134885"/>
            <a:ext cx="8273143" cy="758952"/>
          </a:xfrm>
        </p:spPr>
        <p:txBody>
          <a:bodyPr/>
          <a:lstStyle/>
          <a:p>
            <a:r>
              <a:rPr lang="en-GB" sz="2400" b="1" dirty="0"/>
              <a:t>Community movement building</a:t>
            </a:r>
            <a:br>
              <a:rPr lang="en-GB" dirty="0"/>
            </a:br>
            <a:r>
              <a:rPr lang="en-GB" dirty="0"/>
              <a:t>  </a:t>
            </a:r>
            <a:r>
              <a:rPr lang="en-GB" dirty="0">
                <a:solidFill>
                  <a:schemeClr val="accent1"/>
                </a:solidFill>
              </a:rPr>
              <a:t>- building an empowered network of volunteers</a:t>
            </a:r>
            <a:br>
              <a:rPr lang="en-GB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  - local ownership and control</a:t>
            </a:r>
            <a:br>
              <a:rPr lang="en-GB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  - </a:t>
            </a:r>
            <a:r>
              <a:rPr lang="en-GB" dirty="0">
                <a:solidFill>
                  <a:srgbClr val="A3CE38"/>
                </a:solidFill>
              </a:rPr>
              <a:t>connect people, inspire action, share knowledge</a:t>
            </a:r>
            <a:br>
              <a:rPr lang="en-GB" dirty="0">
                <a:solidFill>
                  <a:schemeClr val="accent1"/>
                </a:solidFill>
              </a:rPr>
            </a:br>
            <a:br>
              <a:rPr lang="en-GB" dirty="0">
                <a:solidFill>
                  <a:schemeClr val="accent1"/>
                </a:solidFill>
              </a:rPr>
            </a:br>
            <a:endParaRPr lang="en-GB" baseline="-25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208EE73-06A8-9143-AA90-61AC322960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3968" y="1462288"/>
            <a:ext cx="4272475" cy="2403267"/>
          </a:xfrm>
          <a:prstGeom prst="rect">
            <a:avLst/>
          </a:prstGeom>
        </p:spPr>
      </p:pic>
      <p:pic>
        <p:nvPicPr>
          <p:cNvPr id="4" name="Image 192" descr="Lâimage contient peut-ÃªtreÂ : 3 personnes, personnes souriantes, personnes debout, chapeau et plein air">
            <a:extLst>
              <a:ext uri="{FF2B5EF4-FFF2-40B4-BE49-F238E27FC236}">
                <a16:creationId xmlns:a16="http://schemas.microsoft.com/office/drawing/2014/main" id="{2D38796C-6504-B64B-80E8-A5BDCD0C0F6C}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5576" y="1475642"/>
            <a:ext cx="3228975" cy="242125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5E6C6A3-7C31-6643-BAFC-89FD4FE2FB8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2012" y="3950214"/>
            <a:ext cx="3456385" cy="259228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AED5471-CBF4-7144-8654-7DA36D95863F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5575" y="4077072"/>
            <a:ext cx="3228975" cy="230425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59369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50ECE-DC1F-4D28-B0BE-9929C6F07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324" y="150841"/>
            <a:ext cx="8273143" cy="758952"/>
          </a:xfrm>
        </p:spPr>
        <p:txBody>
          <a:bodyPr/>
          <a:lstStyle/>
          <a:p>
            <a:r>
              <a:rPr lang="en-GB" sz="2400" dirty="0"/>
              <a:t>Community Champions – community support service</a:t>
            </a:r>
            <a:br>
              <a:rPr lang="en-GB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- Locally rooted </a:t>
            </a:r>
            <a:br>
              <a:rPr lang="en-GB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- Shape our response to the coronavirus crisis</a:t>
            </a:r>
            <a:br>
              <a:rPr lang="en-GB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- Promoting our community support service</a:t>
            </a:r>
            <a:br>
              <a:rPr lang="en-GB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 </a:t>
            </a:r>
            <a:br>
              <a:rPr lang="en-GB" dirty="0">
                <a:solidFill>
                  <a:schemeClr val="accent1"/>
                </a:solidFill>
              </a:rPr>
            </a:b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00B0835-401C-E843-9AA2-D7C894D5BE4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644" y="1575155"/>
            <a:ext cx="3649926" cy="242990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325CD67-5463-9D41-876C-BB47EC453BB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0032" y="1575155"/>
            <a:ext cx="3364022" cy="47525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CB8E76B-DD91-F747-AD32-A3046D4DD19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074" y="4089619"/>
            <a:ext cx="3649926" cy="273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2581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9C5E7B-6065-EE4E-A481-EE9926C58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FF9F18"/>
                </a:solidFill>
                <a:latin typeface="Arial" panose="020B0604020202020204" pitchFamily="34" charset="0"/>
              </a:rPr>
              <a:t>Community Champions – innovation trials</a:t>
            </a:r>
            <a:br>
              <a:rPr lang="en-GB" dirty="0">
                <a:solidFill>
                  <a:srgbClr val="FF9F18"/>
                </a:solidFill>
                <a:latin typeface="Arial" panose="020B0604020202020204" pitchFamily="34" charset="0"/>
              </a:rPr>
            </a:br>
            <a:r>
              <a:rPr lang="en-GB" b="1" dirty="0">
                <a:solidFill>
                  <a:schemeClr val="accent1"/>
                </a:solidFill>
              </a:rPr>
              <a:t>Comm</a:t>
            </a:r>
            <a:r>
              <a:rPr lang="en-GB" dirty="0">
                <a:solidFill>
                  <a:schemeClr val="accent1"/>
                </a:solidFill>
              </a:rPr>
              <a:t>unity </a:t>
            </a:r>
            <a:r>
              <a:rPr lang="en-GB" b="1" dirty="0">
                <a:solidFill>
                  <a:schemeClr val="accent1"/>
                </a:solidFill>
              </a:rPr>
              <a:t>U</a:t>
            </a:r>
            <a:r>
              <a:rPr lang="en-GB" dirty="0">
                <a:solidFill>
                  <a:schemeClr val="accent1"/>
                </a:solidFill>
              </a:rPr>
              <a:t>rban </a:t>
            </a:r>
            <a:r>
              <a:rPr lang="en-GB" b="1" dirty="0">
                <a:solidFill>
                  <a:schemeClr val="accent1"/>
                </a:solidFill>
              </a:rPr>
              <a:t>N</a:t>
            </a:r>
            <a:r>
              <a:rPr lang="en-GB" dirty="0">
                <a:solidFill>
                  <a:schemeClr val="accent1"/>
                </a:solidFill>
              </a:rPr>
              <a:t>eighbourhoods </a:t>
            </a:r>
            <a:r>
              <a:rPr lang="en-GB" b="1" dirty="0">
                <a:solidFill>
                  <a:schemeClr val="accent1"/>
                </a:solidFill>
              </a:rPr>
              <a:t>I</a:t>
            </a:r>
            <a:r>
              <a:rPr lang="en-GB" dirty="0">
                <a:solidFill>
                  <a:schemeClr val="accent1"/>
                </a:solidFill>
              </a:rPr>
              <a:t>nternal </a:t>
            </a:r>
            <a:r>
              <a:rPr lang="en-GB" b="1" dirty="0">
                <a:solidFill>
                  <a:schemeClr val="accent1"/>
                </a:solidFill>
              </a:rPr>
              <a:t>T</a:t>
            </a:r>
            <a:r>
              <a:rPr lang="en-GB" dirty="0">
                <a:solidFill>
                  <a:schemeClr val="accent1"/>
                </a:solidFill>
              </a:rPr>
              <a:t>rading of </a:t>
            </a:r>
            <a:r>
              <a:rPr lang="en-GB" dirty="0" err="1">
                <a:solidFill>
                  <a:schemeClr val="accent1"/>
                </a:solidFill>
              </a:rPr>
              <a:t>energ</a:t>
            </a:r>
            <a:r>
              <a:rPr lang="en-GB" b="1" dirty="0" err="1">
                <a:solidFill>
                  <a:schemeClr val="accent1"/>
                </a:solidFill>
              </a:rPr>
              <a:t>Y</a:t>
            </a:r>
            <a:r>
              <a:rPr lang="en-GB" dirty="0">
                <a:solidFill>
                  <a:schemeClr val="accent1"/>
                </a:solidFill>
              </a:rPr>
              <a:t> – </a:t>
            </a:r>
            <a:br>
              <a:rPr lang="en-GB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(</a:t>
            </a:r>
            <a:r>
              <a:rPr lang="en-GB" dirty="0" err="1">
                <a:solidFill>
                  <a:schemeClr val="accent1"/>
                </a:solidFill>
              </a:rPr>
              <a:t>CommUNITY</a:t>
            </a:r>
            <a:r>
              <a:rPr lang="en-GB" dirty="0">
                <a:solidFill>
                  <a:schemeClr val="accent1"/>
                </a:solidFill>
              </a:rPr>
              <a:t>) – partnership with EDF</a:t>
            </a:r>
          </a:p>
        </p:txBody>
      </p:sp>
      <p:pic>
        <p:nvPicPr>
          <p:cNvPr id="52236" name="Picture 12">
            <a:extLst>
              <a:ext uri="{FF2B5EF4-FFF2-40B4-BE49-F238E27FC236}">
                <a16:creationId xmlns:a16="http://schemas.microsoft.com/office/drawing/2014/main" id="{F4FA6A94-1148-EA4F-B5C8-209B580247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3861" y="1283376"/>
            <a:ext cx="1020751" cy="1300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237" name="Picture 13">
            <a:extLst>
              <a:ext uri="{FF2B5EF4-FFF2-40B4-BE49-F238E27FC236}">
                <a16:creationId xmlns:a16="http://schemas.microsoft.com/office/drawing/2014/main" id="{24A30DEA-712F-0147-A6D8-3028B31924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2936" y="1543623"/>
            <a:ext cx="1374053" cy="779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239" name="Picture 15">
            <a:extLst>
              <a:ext uri="{FF2B5EF4-FFF2-40B4-BE49-F238E27FC236}">
                <a16:creationId xmlns:a16="http://schemas.microsoft.com/office/drawing/2014/main" id="{A167D048-E086-2E4C-9B62-C16FAE19EC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383" y="5100298"/>
            <a:ext cx="3422348" cy="1452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1BAFF57-1F58-0845-9B57-0206A49FB9FA}"/>
              </a:ext>
            </a:extLst>
          </p:cNvPr>
          <p:cNvSpPr/>
          <p:nvPr/>
        </p:nvSpPr>
        <p:spPr>
          <a:xfrm>
            <a:off x="317627" y="1283376"/>
            <a:ext cx="4087269" cy="5559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Virtual’ microgrid where power is locally produced, traded and consumed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Ofgem sandbox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Residents are projected to save 10-20% on their electricity costs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37 </a:t>
            </a:r>
            <a:r>
              <a:rPr lang="en-GB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kWp</a:t>
            </a: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 community-owned solar PV array 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Brixton Energy has an export PPA with EDF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Phase 1 - </a:t>
            </a: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  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4 households (30% of eligible customers)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Applicable to both pre-payment and credit meters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Smart phone app for residents to share or sell solar energy   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Solar energy is priced lower than their existing tariff 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Participants are receiving credit on their accounts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Phase 2 - Battery storage in development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Battery to be installed (24 kWh storage capacity)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Operating at a community scale 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Increase savings to resident by higher usage 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Potential to provide networks services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52241" name="Picture 17">
            <a:extLst>
              <a:ext uri="{FF2B5EF4-FFF2-40B4-BE49-F238E27FC236}">
                <a16:creationId xmlns:a16="http://schemas.microsoft.com/office/drawing/2014/main" id="{A62CAB33-BD62-244A-968E-2E0D6DD28A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151" y="2583474"/>
            <a:ext cx="2928812" cy="2194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243" name="Picture 19">
            <a:extLst>
              <a:ext uri="{FF2B5EF4-FFF2-40B4-BE49-F238E27FC236}">
                <a16:creationId xmlns:a16="http://schemas.microsoft.com/office/drawing/2014/main" id="{75341EEA-FBB5-E044-B1A8-38BADA9FFE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5085" y="1702135"/>
            <a:ext cx="1584571" cy="558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66596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50ECE-DC1F-4D28-B0BE-9929C6F07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2" y="188640"/>
            <a:ext cx="8273143" cy="758952"/>
          </a:xfrm>
        </p:spPr>
        <p:txBody>
          <a:bodyPr/>
          <a:lstStyle/>
          <a:p>
            <a:r>
              <a:rPr lang="en-GB" b="1" dirty="0"/>
              <a:t>Education and Training Programme</a:t>
            </a:r>
            <a:br>
              <a:rPr lang="en-GB" dirty="0"/>
            </a:br>
            <a:r>
              <a:rPr lang="en-GB" dirty="0">
                <a:solidFill>
                  <a:schemeClr val="accent1"/>
                </a:solidFill>
              </a:rPr>
              <a:t>Flagship youth training programme – AQA accredited scheme</a:t>
            </a:r>
            <a:br>
              <a:rPr lang="en-GB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School workshops – linked to curriculum</a:t>
            </a:r>
            <a:br>
              <a:rPr lang="en-GB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Theatre project for primary school children – pilot in Hackney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6F169F-2032-674A-B582-592F2D2D55E1}"/>
              </a:ext>
            </a:extLst>
          </p:cNvPr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5976" y="3861048"/>
            <a:ext cx="3879600" cy="25813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CC702F-292F-8044-9E8C-CBF89A5D417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644386" y="1484784"/>
            <a:ext cx="5731510" cy="226758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7DFA592-8331-8544-A446-09A087DA38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491" y="3861048"/>
            <a:ext cx="3441781" cy="2581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0978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245DF3-0C64-F840-8129-17FDD252B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552" y="217247"/>
            <a:ext cx="8273143" cy="722811"/>
          </a:xfrm>
        </p:spPr>
        <p:txBody>
          <a:bodyPr/>
          <a:lstStyle/>
          <a:p>
            <a:r>
              <a:rPr lang="en-US" sz="2667" b="1" dirty="0">
                <a:latin typeface="Asap" panose="02000506040000020004" pitchFamily="2" charset="0"/>
              </a:rPr>
              <a:t>Governance </a:t>
            </a:r>
            <a:br>
              <a:rPr lang="en-US" sz="2667" b="1" dirty="0">
                <a:latin typeface="Asap" panose="02000506040000020004" pitchFamily="2" charset="0"/>
              </a:rPr>
            </a:br>
            <a:r>
              <a:rPr lang="en-GB" sz="2667" b="1" dirty="0">
                <a:solidFill>
                  <a:srgbClr val="A3CE38"/>
                </a:solidFill>
                <a:latin typeface="Asap" panose="02000506040000020004" pitchFamily="2" charset="0"/>
              </a:rPr>
              <a:t>Community Benefit Societies Model - £1 membership</a:t>
            </a:r>
            <a:endParaRPr lang="en-US" sz="2667" dirty="0">
              <a:latin typeface="Asap" panose="0200050604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090D06-6E48-B144-B606-E6EAB971F5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Bef>
                <a:spcPts val="0"/>
              </a:spcBef>
              <a:buClrTx/>
              <a:buNone/>
            </a:pPr>
            <a:endParaRPr lang="en-US" sz="1714" b="1" dirty="0">
              <a:solidFill>
                <a:sysClr val="windowText" lastClr="000000"/>
              </a:solidFill>
            </a:endParaRPr>
          </a:p>
          <a:p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EB42310-6481-0E44-A08B-9391C1368C72}"/>
              </a:ext>
            </a:extLst>
          </p:cNvPr>
          <p:cNvGrpSpPr>
            <a:grpSpLocks noChangeAspect="1"/>
          </p:cNvGrpSpPr>
          <p:nvPr/>
        </p:nvGrpSpPr>
        <p:grpSpPr>
          <a:xfrm>
            <a:off x="4139952" y="1584064"/>
            <a:ext cx="4283362" cy="4467015"/>
            <a:chOff x="5046785" y="592715"/>
            <a:chExt cx="3497708" cy="364767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45B172C-30FD-E442-A72A-49335CBB0314}"/>
                </a:ext>
              </a:extLst>
            </p:cNvPr>
            <p:cNvSpPr/>
            <p:nvPr/>
          </p:nvSpPr>
          <p:spPr>
            <a:xfrm>
              <a:off x="5046785" y="592715"/>
              <a:ext cx="3497708" cy="3647675"/>
            </a:xfrm>
            <a:prstGeom prst="rect">
              <a:avLst/>
            </a:prstGeom>
            <a:blipFill rotWithShape="0">
              <a:blip r:embed="rId3" cstate="email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harpenSoften amount="50000"/>
                        </a14:imgEffect>
                        <a14:imgEffect>
                          <a14:brightnessContrast contrast="-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-3000" r="-3000"/>
              </a:stretch>
            </a:blipFill>
            <a:ln>
              <a:noFill/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A146BC9-7CB5-1D43-8641-F7FF0D27281A}"/>
                </a:ext>
              </a:extLst>
            </p:cNvPr>
            <p:cNvSpPr txBox="1"/>
            <p:nvPr/>
          </p:nvSpPr>
          <p:spPr>
            <a:xfrm>
              <a:off x="5046785" y="592715"/>
              <a:ext cx="3497708" cy="3647675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0800" tIns="50800" rIns="67733" bIns="76200" numCol="1" spcCol="1270" anchor="t" anchorCtr="0">
              <a:noAutofit/>
            </a:bodyPr>
            <a:lstStyle/>
            <a:p>
              <a:pPr marL="54430" lvl="1" indent="-54430" defTabSz="423342" fontAlgn="auto" hangingPunct="1">
                <a:lnSpc>
                  <a:spcPct val="90000"/>
                </a:lnSpc>
                <a:spcAft>
                  <a:spcPct val="15000"/>
                </a:spcAft>
                <a:buClrTx/>
                <a:buSzTx/>
              </a:pPr>
              <a:endParaRPr lang="en-US" sz="952" b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/>
              </a:endParaRPr>
            </a:p>
          </p:txBody>
        </p:sp>
      </p:grp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670000A-CDD2-6441-866B-C51AB7EA8F2C}"/>
              </a:ext>
            </a:extLst>
          </p:cNvPr>
          <p:cNvSpPr txBox="1">
            <a:spLocks/>
          </p:cNvSpPr>
          <p:nvPr/>
        </p:nvSpPr>
        <p:spPr bwMode="auto">
          <a:xfrm>
            <a:off x="323528" y="1424752"/>
            <a:ext cx="3278217" cy="516241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449263" rtl="0" fontAlgn="base">
              <a:lnSpc>
                <a:spcPct val="102000"/>
              </a:lnSpc>
              <a:spcBef>
                <a:spcPct val="0"/>
              </a:spcBef>
              <a:spcAft>
                <a:spcPts val="1425"/>
              </a:spcAft>
              <a:buClr>
                <a:srgbClr val="000000"/>
              </a:buClr>
              <a:buSzPct val="100000"/>
              <a:buFont typeface="Times New Roman" charset="0"/>
              <a:defRPr sz="3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fontAlgn="base">
              <a:lnSpc>
                <a:spcPct val="102000"/>
              </a:lnSpc>
              <a:spcBef>
                <a:spcPct val="0"/>
              </a:spcBef>
              <a:spcAft>
                <a:spcPts val="1138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fontAlgn="base">
              <a:lnSpc>
                <a:spcPct val="102000"/>
              </a:lnSpc>
              <a:spcBef>
                <a:spcPct val="0"/>
              </a:spcBef>
              <a:spcAft>
                <a:spcPts val="850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fontAlgn="base">
              <a:lnSpc>
                <a:spcPct val="102000"/>
              </a:lnSpc>
              <a:spcBef>
                <a:spcPct val="0"/>
              </a:spcBef>
              <a:spcAft>
                <a:spcPts val="575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fontAlgn="base">
              <a:lnSpc>
                <a:spcPct val="102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102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102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102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102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hangingPunct="1">
              <a:lnSpc>
                <a:spcPct val="120000"/>
              </a:lnSpc>
              <a:buFont typeface="Arial" charset="0"/>
              <a:buChar char="•"/>
            </a:pPr>
            <a:r>
              <a:rPr lang="en-GB" sz="2000" b="1" kern="0" dirty="0">
                <a:latin typeface="Franklin Gothic Medium"/>
                <a:ea typeface="AppleMyungjo"/>
                <a:cs typeface="Franklin Gothic Medium"/>
              </a:rPr>
              <a:t>Core principles </a:t>
            </a:r>
            <a:r>
              <a:rPr lang="en-GB" sz="2000" kern="0" dirty="0">
                <a:latin typeface="Franklin Gothic Medium"/>
                <a:ea typeface="AppleMyungjo"/>
                <a:cs typeface="Franklin Gothic Medium"/>
              </a:rPr>
              <a:t>– community owned, control and benefit </a:t>
            </a:r>
            <a:endParaRPr lang="en-GB" sz="2000" b="1" kern="0" dirty="0">
              <a:latin typeface="Franklin Gothic Medium"/>
              <a:ea typeface="AppleMyungjo"/>
              <a:cs typeface="Franklin Gothic Medium"/>
            </a:endParaRPr>
          </a:p>
          <a:p>
            <a:pPr hangingPunct="1">
              <a:lnSpc>
                <a:spcPct val="120000"/>
              </a:lnSpc>
              <a:buFont typeface="Arial" charset="0"/>
              <a:buChar char="•"/>
            </a:pPr>
            <a:r>
              <a:rPr lang="en-GB" sz="2000" b="1" kern="0" dirty="0">
                <a:latin typeface="Franklin Gothic Medium"/>
                <a:ea typeface="AppleMyungjo"/>
                <a:cs typeface="Franklin Gothic Medium"/>
              </a:rPr>
              <a:t>Democratic</a:t>
            </a:r>
            <a:r>
              <a:rPr lang="en-GB" sz="2000" kern="0" dirty="0">
                <a:latin typeface="Franklin Gothic Medium"/>
                <a:ea typeface="AppleMyungjo"/>
                <a:cs typeface="Franklin Gothic Medium"/>
              </a:rPr>
              <a:t> - one member one vote</a:t>
            </a:r>
          </a:p>
          <a:p>
            <a:pPr hangingPunct="1">
              <a:lnSpc>
                <a:spcPct val="120000"/>
              </a:lnSpc>
              <a:buFont typeface="Arial" charset="0"/>
              <a:buChar char="•"/>
            </a:pPr>
            <a:r>
              <a:rPr lang="en-GB" sz="2000" b="1" kern="0" dirty="0">
                <a:highlight>
                  <a:srgbClr val="C0C0C0"/>
                </a:highlight>
                <a:latin typeface="Franklin Gothic Medium"/>
                <a:ea typeface="AppleMyungjo"/>
                <a:cs typeface="Franklin Gothic Medium"/>
              </a:rPr>
              <a:t>Inclusive</a:t>
            </a:r>
            <a:r>
              <a:rPr lang="en-GB" sz="2000" kern="0" dirty="0">
                <a:highlight>
                  <a:srgbClr val="C0C0C0"/>
                </a:highlight>
                <a:latin typeface="Franklin Gothic Medium"/>
                <a:ea typeface="AppleMyungjo"/>
                <a:cs typeface="Franklin Gothic Medium"/>
              </a:rPr>
              <a:t> – local residents can join with a nominal £1 membership fee. </a:t>
            </a:r>
          </a:p>
          <a:p>
            <a:pPr hangingPunct="1">
              <a:lnSpc>
                <a:spcPct val="120000"/>
              </a:lnSpc>
              <a:buFont typeface="Arial" charset="0"/>
              <a:buChar char="•"/>
            </a:pPr>
            <a:r>
              <a:rPr lang="en-GB" sz="2000" b="1" kern="0" dirty="0">
                <a:latin typeface="Franklin Gothic Medium"/>
                <a:ea typeface="AppleMyungjo"/>
                <a:cs typeface="Franklin Gothic Medium"/>
              </a:rPr>
              <a:t>Community shares </a:t>
            </a:r>
            <a:r>
              <a:rPr lang="en-GB" sz="2000" kern="0" dirty="0">
                <a:latin typeface="Franklin Gothic Medium"/>
                <a:ea typeface="AppleMyungjo"/>
                <a:cs typeface="Franklin Gothic Medium"/>
              </a:rPr>
              <a:t>– offer local green investment</a:t>
            </a:r>
          </a:p>
          <a:p>
            <a:pPr hangingPunct="1">
              <a:lnSpc>
                <a:spcPct val="120000"/>
              </a:lnSpc>
              <a:buFont typeface="Arial" charset="0"/>
              <a:buChar char="•"/>
            </a:pPr>
            <a:endParaRPr lang="en-GB" sz="2000" kern="0" dirty="0">
              <a:latin typeface="Franklin Gothic Medium"/>
              <a:ea typeface="AppleMyungjo"/>
              <a:cs typeface="Franklin Gothic Medium"/>
            </a:endParaRPr>
          </a:p>
        </p:txBody>
      </p:sp>
    </p:spTree>
    <p:extLst>
      <p:ext uri="{BB962C8B-B14F-4D97-AF65-F5344CB8AC3E}">
        <p14:creationId xmlns:p14="http://schemas.microsoft.com/office/powerpoint/2010/main" val="2845532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5898" y="1238805"/>
            <a:ext cx="7694365" cy="5351988"/>
          </a:xfrm>
          <a:prstGeom prst="rect">
            <a:avLst/>
          </a:prstGeom>
          <a:noFill/>
          <a:ln>
            <a:noFill/>
          </a:ln>
          <a:effectLst>
            <a:outerShdw dist="50800" dir="5400000" sx="1000" sy="1000" algn="ctr" rotWithShape="0">
              <a:srgbClr val="000000"/>
            </a:outerShdw>
          </a:effectLst>
          <a:extLst>
            <a:ext uri="{909E8E84-426E-40dd-AFC4-6F175D3DCCD1}">
              <a14:hiddenFill xmlns=""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21506" name="Text Box 2"/>
          <p:cNvSpPr txBox="1">
            <a:spLocks noChangeArrowheads="1"/>
          </p:cNvSpPr>
          <p:nvPr/>
        </p:nvSpPr>
        <p:spPr bwMode="auto">
          <a:xfrm>
            <a:off x="584200" y="152400"/>
            <a:ext cx="7696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ＭＳ Ｐゴシック" charset="0"/>
                <a:cs typeface="Microsoft YaHei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ＭＳ Ｐゴシック" charset="0"/>
                <a:cs typeface="Microsoft YaHei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ＭＳ Ｐゴシック" charset="0"/>
                <a:cs typeface="Microsoft YaHei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ＭＳ Ｐゴシック" charset="0"/>
                <a:cs typeface="Microsoft YaHei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ＭＳ Ｐゴシック" charset="0"/>
                <a:cs typeface="Microsoft YaHei" charset="0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ＭＳ Ｐゴシック" charset="0"/>
                <a:cs typeface="Microsoft YaHei" charset="0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ＭＳ Ｐゴシック" charset="0"/>
                <a:cs typeface="Microsoft YaHei" charset="0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ＭＳ Ｐゴシック" charset="0"/>
                <a:cs typeface="Microsoft YaHei" charset="0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ＭＳ Ｐゴシック" charset="0"/>
                <a:cs typeface="Microsoft YaHei" charset="0"/>
              </a:defRPr>
            </a:lvl9pPr>
          </a:lstStyle>
          <a:p>
            <a:pPr hangingPunct="1">
              <a:lnSpc>
                <a:spcPct val="100000"/>
              </a:lnSpc>
              <a:buClrTx/>
              <a:buFontTx/>
              <a:buNone/>
            </a:pPr>
            <a:r>
              <a:rPr lang="en-GB" sz="5400">
                <a:solidFill>
                  <a:srgbClr val="FF9F18"/>
                </a:solidFill>
                <a:latin typeface="Franklin Gothic Medium" charset="0"/>
                <a:ea typeface="AppleMyungjo" charset="0"/>
                <a:cs typeface="AppleMyungjo" charset="0"/>
              </a:rPr>
              <a:t>Thanks for your time</a:t>
            </a:r>
          </a:p>
        </p:txBody>
      </p:sp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-201612" y="588963"/>
            <a:ext cx="1079500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21509" name="Rectangle 5"/>
          <p:cNvSpPr>
            <a:spLocks noChangeArrowheads="1"/>
          </p:cNvSpPr>
          <p:nvPr/>
        </p:nvSpPr>
        <p:spPr bwMode="auto">
          <a:xfrm>
            <a:off x="3841750" y="4191000"/>
            <a:ext cx="4581525" cy="1928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527050" indent="-523875">
              <a:lnSpc>
                <a:spcPct val="100000"/>
              </a:lnSpc>
              <a:buClrTx/>
              <a:buFontTx/>
              <a:buNone/>
              <a:tabLst>
                <a:tab pos="527050" algn="l"/>
                <a:tab pos="974725" algn="l"/>
                <a:tab pos="1423988" algn="l"/>
                <a:tab pos="1873250" algn="l"/>
                <a:tab pos="2322513" algn="l"/>
                <a:tab pos="2771775" algn="l"/>
                <a:tab pos="3221038" algn="l"/>
                <a:tab pos="3670300" algn="l"/>
                <a:tab pos="4119563" algn="l"/>
                <a:tab pos="4568825" algn="l"/>
                <a:tab pos="5018088" algn="l"/>
                <a:tab pos="5467350" algn="l"/>
                <a:tab pos="5916613" algn="l"/>
                <a:tab pos="6365875" algn="l"/>
                <a:tab pos="6815138" algn="l"/>
                <a:tab pos="7264400" algn="l"/>
                <a:tab pos="7713663" algn="l"/>
                <a:tab pos="8162925" algn="l"/>
                <a:tab pos="8612188" algn="l"/>
                <a:tab pos="9061450" algn="l"/>
                <a:tab pos="9510713" algn="l"/>
              </a:tabLst>
            </a:pPr>
            <a:endParaRPr lang="en-US" sz="1000" dirty="0">
              <a:solidFill>
                <a:srgbClr val="000000"/>
              </a:solidFill>
              <a:latin typeface="Franklin Gothic Medium" charset="0"/>
              <a:cs typeface="Franklin Gothic Medium" charset="0"/>
            </a:endParaRPr>
          </a:p>
          <a:p>
            <a:pPr marL="527050" indent="-523875" algn="r">
              <a:lnSpc>
                <a:spcPct val="100000"/>
              </a:lnSpc>
              <a:buClrTx/>
              <a:buFontTx/>
              <a:buNone/>
              <a:tabLst>
                <a:tab pos="527050" algn="l"/>
                <a:tab pos="974725" algn="l"/>
                <a:tab pos="1423988" algn="l"/>
                <a:tab pos="1873250" algn="l"/>
                <a:tab pos="2322513" algn="l"/>
                <a:tab pos="2771775" algn="l"/>
                <a:tab pos="3221038" algn="l"/>
                <a:tab pos="3670300" algn="l"/>
                <a:tab pos="4119563" algn="l"/>
                <a:tab pos="4568825" algn="l"/>
                <a:tab pos="5018088" algn="l"/>
                <a:tab pos="5467350" algn="l"/>
                <a:tab pos="5916613" algn="l"/>
                <a:tab pos="6365875" algn="l"/>
                <a:tab pos="6815138" algn="l"/>
                <a:tab pos="7264400" algn="l"/>
                <a:tab pos="7713663" algn="l"/>
                <a:tab pos="8162925" algn="l"/>
                <a:tab pos="8612188" algn="l"/>
                <a:tab pos="9061450" algn="l"/>
                <a:tab pos="9510713" algn="l"/>
              </a:tabLst>
            </a:pPr>
            <a:r>
              <a:rPr lang="en-GB" sz="2800" dirty="0">
                <a:solidFill>
                  <a:srgbClr val="000090"/>
                </a:solidFill>
                <a:latin typeface="Franklin Gothic Medium" charset="0"/>
                <a:cs typeface="Franklin Gothic Medium" charset="0"/>
              </a:rPr>
              <a:t>Dr Afsheen Kabir Rashid MBE</a:t>
            </a:r>
          </a:p>
          <a:p>
            <a:pPr marL="527050" indent="-523875" algn="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FontTx/>
              <a:buNone/>
              <a:tabLst>
                <a:tab pos="527050" algn="l"/>
                <a:tab pos="974725" algn="l"/>
                <a:tab pos="1423988" algn="l"/>
                <a:tab pos="1873250" algn="l"/>
                <a:tab pos="2322513" algn="l"/>
                <a:tab pos="2771775" algn="l"/>
                <a:tab pos="3221038" algn="l"/>
                <a:tab pos="3670300" algn="l"/>
                <a:tab pos="4119563" algn="l"/>
                <a:tab pos="4568825" algn="l"/>
                <a:tab pos="5018088" algn="l"/>
                <a:tab pos="5467350" algn="l"/>
                <a:tab pos="5916613" algn="l"/>
                <a:tab pos="6365875" algn="l"/>
                <a:tab pos="6815138" algn="l"/>
                <a:tab pos="7264400" algn="l"/>
                <a:tab pos="7713663" algn="l"/>
                <a:tab pos="8162925" algn="l"/>
                <a:tab pos="8612188" algn="l"/>
                <a:tab pos="9061450" algn="l"/>
                <a:tab pos="9510713" algn="l"/>
              </a:tabLst>
            </a:pPr>
            <a:r>
              <a:rPr lang="en-US" sz="2000" dirty="0">
                <a:solidFill>
                  <a:srgbClr val="000090"/>
                </a:solidFill>
                <a:latin typeface="Franklin Gothic Medium" charset="0"/>
                <a:cs typeface="Franklin Gothic Medium" charset="0"/>
              </a:rPr>
              <a:t>Co-founder Director &amp; CEO</a:t>
            </a:r>
          </a:p>
          <a:p>
            <a:pPr marL="527050" indent="-523875" algn="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FontTx/>
              <a:buNone/>
              <a:tabLst>
                <a:tab pos="527050" algn="l"/>
                <a:tab pos="974725" algn="l"/>
                <a:tab pos="1423988" algn="l"/>
                <a:tab pos="1873250" algn="l"/>
                <a:tab pos="2322513" algn="l"/>
                <a:tab pos="2771775" algn="l"/>
                <a:tab pos="3221038" algn="l"/>
                <a:tab pos="3670300" algn="l"/>
                <a:tab pos="4119563" algn="l"/>
                <a:tab pos="4568825" algn="l"/>
                <a:tab pos="5018088" algn="l"/>
                <a:tab pos="5467350" algn="l"/>
                <a:tab pos="5916613" algn="l"/>
                <a:tab pos="6365875" algn="l"/>
                <a:tab pos="6815138" algn="l"/>
                <a:tab pos="7264400" algn="l"/>
                <a:tab pos="7713663" algn="l"/>
                <a:tab pos="8162925" algn="l"/>
                <a:tab pos="8612188" algn="l"/>
                <a:tab pos="9061450" algn="l"/>
                <a:tab pos="9510713" algn="l"/>
              </a:tabLst>
            </a:pPr>
            <a:r>
              <a:rPr lang="en-US" sz="2000" dirty="0">
                <a:solidFill>
                  <a:srgbClr val="000090"/>
                </a:solidFill>
                <a:latin typeface="Franklin Gothic Medium" charset="0"/>
                <a:cs typeface="Franklin Gothic Medium" charset="0"/>
              </a:rPr>
              <a:t>+44 (0) 7834686264</a:t>
            </a:r>
          </a:p>
          <a:p>
            <a:pPr marL="527050" indent="-523875" algn="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FontTx/>
              <a:buNone/>
              <a:tabLst>
                <a:tab pos="527050" algn="l"/>
                <a:tab pos="974725" algn="l"/>
                <a:tab pos="1423988" algn="l"/>
                <a:tab pos="1873250" algn="l"/>
                <a:tab pos="2322513" algn="l"/>
                <a:tab pos="2771775" algn="l"/>
                <a:tab pos="3221038" algn="l"/>
                <a:tab pos="3670300" algn="l"/>
                <a:tab pos="4119563" algn="l"/>
                <a:tab pos="4568825" algn="l"/>
                <a:tab pos="5018088" algn="l"/>
                <a:tab pos="5467350" algn="l"/>
                <a:tab pos="5916613" algn="l"/>
                <a:tab pos="6365875" algn="l"/>
                <a:tab pos="6815138" algn="l"/>
                <a:tab pos="7264400" algn="l"/>
                <a:tab pos="7713663" algn="l"/>
                <a:tab pos="8162925" algn="l"/>
                <a:tab pos="8612188" algn="l"/>
                <a:tab pos="9061450" algn="l"/>
                <a:tab pos="9510713" algn="l"/>
              </a:tabLst>
            </a:pPr>
            <a:r>
              <a:rPr lang="en-US" sz="2000" dirty="0" err="1">
                <a:solidFill>
                  <a:srgbClr val="000090"/>
                </a:solidFill>
                <a:latin typeface="Franklin Gothic Medium" charset="0"/>
                <a:cs typeface="Franklin Gothic Medium" charset="0"/>
              </a:rPr>
              <a:t>Afsheen.Rashid@Repowering.org.uk</a:t>
            </a:r>
            <a:endParaRPr lang="en-US" sz="2000" dirty="0">
              <a:solidFill>
                <a:srgbClr val="000090"/>
              </a:solidFill>
              <a:latin typeface="Franklin Gothic Medium" charset="0"/>
              <a:cs typeface="Franklin Gothic Medium" charset="0"/>
            </a:endParaRPr>
          </a:p>
          <a:p>
            <a:pPr marL="527050" indent="-523875" algn="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FontTx/>
              <a:buNone/>
              <a:tabLst>
                <a:tab pos="527050" algn="l"/>
                <a:tab pos="974725" algn="l"/>
                <a:tab pos="1423988" algn="l"/>
                <a:tab pos="1873250" algn="l"/>
                <a:tab pos="2322513" algn="l"/>
                <a:tab pos="2771775" algn="l"/>
                <a:tab pos="3221038" algn="l"/>
                <a:tab pos="3670300" algn="l"/>
                <a:tab pos="4119563" algn="l"/>
                <a:tab pos="4568825" algn="l"/>
                <a:tab pos="5018088" algn="l"/>
                <a:tab pos="5467350" algn="l"/>
                <a:tab pos="5916613" algn="l"/>
                <a:tab pos="6365875" algn="l"/>
                <a:tab pos="6815138" algn="l"/>
                <a:tab pos="7264400" algn="l"/>
                <a:tab pos="7713663" algn="l"/>
                <a:tab pos="8162925" algn="l"/>
                <a:tab pos="8612188" algn="l"/>
                <a:tab pos="9061450" algn="l"/>
                <a:tab pos="9510713" algn="l"/>
              </a:tabLst>
            </a:pPr>
            <a:r>
              <a:rPr lang="en-US" sz="2000" dirty="0">
                <a:solidFill>
                  <a:srgbClr val="0000FF"/>
                </a:solidFill>
                <a:latin typeface="Franklin Gothic Medium" charset="0"/>
                <a:cs typeface="Franklin Gothic Medium" charset="0"/>
              </a:rPr>
              <a:t>@</a:t>
            </a:r>
            <a:r>
              <a:rPr lang="en-US" sz="2000" dirty="0" err="1">
                <a:solidFill>
                  <a:srgbClr val="0000FF"/>
                </a:solidFill>
                <a:latin typeface="Franklin Gothic Medium" charset="0"/>
                <a:cs typeface="Franklin Gothic Medium" charset="0"/>
              </a:rPr>
              <a:t>RepowerLondon</a:t>
            </a:r>
            <a:r>
              <a:rPr lang="en-US" sz="2000" dirty="0">
                <a:solidFill>
                  <a:srgbClr val="000000"/>
                </a:solidFill>
                <a:latin typeface="Franklin Gothic Medium" charset="0"/>
                <a:cs typeface="Franklin Gothic Medium" charset="0"/>
              </a:rPr>
              <a:t>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ＭＳ Ｐゴシック"/>
        <a:cs typeface="Microsoft YaHei"/>
      </a:majorFont>
      <a:minorFont>
        <a:latin typeface="Calibri"/>
        <a:ea typeface="ＭＳ Ｐゴシック"/>
        <a:cs typeface="Microsoft YaHe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Arial" charset="0"/>
            <a:ea typeface="ＭＳ Ｐゴシック" charset="0"/>
            <a:cs typeface="Microsoft YaHei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Arial" charset="0"/>
            <a:ea typeface="ＭＳ Ｐゴシック" charset="0"/>
            <a:cs typeface="Microsoft YaHei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Vanilla">
  <a:themeElements>
    <a:clrScheme name="Vanilla">
      <a:dk1>
        <a:sysClr val="windowText" lastClr="000000"/>
      </a:dk1>
      <a:lt1>
        <a:sysClr val="window" lastClr="FFFFFF"/>
      </a:lt1>
      <a:dk2>
        <a:srgbClr val="FF9F18"/>
      </a:dk2>
      <a:lt2>
        <a:srgbClr val="E9E5C6"/>
      </a:lt2>
      <a:accent1>
        <a:srgbClr val="A3CE38"/>
      </a:accent1>
      <a:accent2>
        <a:srgbClr val="49B5A1"/>
      </a:accent2>
      <a:accent3>
        <a:srgbClr val="606060"/>
      </a:accent3>
      <a:accent4>
        <a:srgbClr val="BFBFBF"/>
      </a:accent4>
      <a:accent5>
        <a:srgbClr val="000090"/>
      </a:accent5>
      <a:accent6>
        <a:srgbClr val="4F81BD"/>
      </a:accent6>
      <a:hlink>
        <a:srgbClr val="606060"/>
      </a:hlink>
      <a:folHlink>
        <a:srgbClr val="BFBFBF"/>
      </a:folHlink>
    </a:clrScheme>
    <a:fontScheme name="Repowering Lond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W_Repowering business plan.potx" id="{6011C48B-61DE-47E8-A15B-D4150837E8F0}" vid="{452D4FFB-7479-4445-B6C5-6383AFCF5A43}"/>
    </a:ext>
  </a:extLst>
</a:theme>
</file>

<file path=ppt/theme/theme3.xml><?xml version="1.0" encoding="utf-8"?>
<a:theme xmlns:a="http://schemas.openxmlformats.org/drawingml/2006/main" name="1_Vanilla">
  <a:themeElements>
    <a:clrScheme name="Vanilla">
      <a:dk1>
        <a:sysClr val="windowText" lastClr="000000"/>
      </a:dk1>
      <a:lt1>
        <a:sysClr val="window" lastClr="FFFFFF"/>
      </a:lt1>
      <a:dk2>
        <a:srgbClr val="FF9F18"/>
      </a:dk2>
      <a:lt2>
        <a:srgbClr val="E9E5C6"/>
      </a:lt2>
      <a:accent1>
        <a:srgbClr val="A3CE38"/>
      </a:accent1>
      <a:accent2>
        <a:srgbClr val="49B5A1"/>
      </a:accent2>
      <a:accent3>
        <a:srgbClr val="606060"/>
      </a:accent3>
      <a:accent4>
        <a:srgbClr val="BFBFBF"/>
      </a:accent4>
      <a:accent5>
        <a:srgbClr val="000090"/>
      </a:accent5>
      <a:accent6>
        <a:srgbClr val="4F81BD"/>
      </a:accent6>
      <a:hlink>
        <a:srgbClr val="606060"/>
      </a:hlink>
      <a:folHlink>
        <a:srgbClr val="BFBFBF"/>
      </a:folHlink>
    </a:clrScheme>
    <a:fontScheme name="Repowering Lond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W_Repowering business plan.potx" id="{6011C48B-61DE-47E8-A15B-D4150837E8F0}" vid="{452D4FFB-7479-4445-B6C5-6383AFCF5A43}"/>
    </a:ext>
  </a:extLst>
</a:theme>
</file>

<file path=ppt/theme/theme4.xml><?xml version="1.0" encoding="utf-8"?>
<a:theme xmlns:a="http://schemas.openxmlformats.org/drawingml/2006/main" name="3_Vanilla">
  <a:themeElements>
    <a:clrScheme name="Vanilla">
      <a:dk1>
        <a:sysClr val="windowText" lastClr="000000"/>
      </a:dk1>
      <a:lt1>
        <a:sysClr val="window" lastClr="FFFFFF"/>
      </a:lt1>
      <a:dk2>
        <a:srgbClr val="FF9F18"/>
      </a:dk2>
      <a:lt2>
        <a:srgbClr val="E9E5C6"/>
      </a:lt2>
      <a:accent1>
        <a:srgbClr val="A3CE38"/>
      </a:accent1>
      <a:accent2>
        <a:srgbClr val="49B5A1"/>
      </a:accent2>
      <a:accent3>
        <a:srgbClr val="606060"/>
      </a:accent3>
      <a:accent4>
        <a:srgbClr val="BFBFBF"/>
      </a:accent4>
      <a:accent5>
        <a:srgbClr val="000090"/>
      </a:accent5>
      <a:accent6>
        <a:srgbClr val="4F81BD"/>
      </a:accent6>
      <a:hlink>
        <a:srgbClr val="606060"/>
      </a:hlink>
      <a:folHlink>
        <a:srgbClr val="BFBFBF"/>
      </a:folHlink>
    </a:clrScheme>
    <a:fontScheme name="Repowering Lond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W_Repowering business plan.potx" id="{6011C48B-61DE-47E8-A15B-D4150837E8F0}" vid="{452D4FFB-7479-4445-B6C5-6383AFCF5A43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2916</TotalTime>
  <Words>163</Words>
  <Application>Microsoft Macintosh PowerPoint</Application>
  <PresentationFormat>On-screen Show (4:3)</PresentationFormat>
  <Paragraphs>58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Asap</vt:lpstr>
      <vt:lpstr>Calibri</vt:lpstr>
      <vt:lpstr>Franklin Gothic Medium</vt:lpstr>
      <vt:lpstr>Times New Roman</vt:lpstr>
      <vt:lpstr>Office Theme</vt:lpstr>
      <vt:lpstr>Vanilla</vt:lpstr>
      <vt:lpstr>1_Vanilla</vt:lpstr>
      <vt:lpstr>3_Vanilla</vt:lpstr>
      <vt:lpstr>think-cell Slide</vt:lpstr>
      <vt:lpstr>PowerPoint Presentation</vt:lpstr>
      <vt:lpstr>PowerPoint Presentation</vt:lpstr>
      <vt:lpstr>Community movement building   - building an empowered network of volunteers   - local ownership and control   - connect people, inspire action, share knowledge  </vt:lpstr>
      <vt:lpstr>Community Champions – community support service - Locally rooted  - Shape our response to the coronavirus crisis - Promoting our community support service   </vt:lpstr>
      <vt:lpstr>Community Champions – innovation trials Community Urban Neighbourhoods Internal Trading of energY –  (CommUNITY) – partnership with EDF</vt:lpstr>
      <vt:lpstr>Education and Training Programme Flagship youth training programme – AQA accredited scheme School workshops – linked to curriculum Theatre project for primary school children – pilot in Hackney</vt:lpstr>
      <vt:lpstr>Governance  Community Benefit Societies Model - £1 membership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Afsheen Kabir Rashid</cp:lastModifiedBy>
  <cp:revision>179</cp:revision>
  <cp:lastPrinted>2020-03-10T15:42:50Z</cp:lastPrinted>
  <dcterms:created xsi:type="dcterms:W3CDTF">1601-01-01T00:00:00Z</dcterms:created>
  <dcterms:modified xsi:type="dcterms:W3CDTF">2020-06-25T10:40:08Z</dcterms:modified>
</cp:coreProperties>
</file>